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media/image3.bin" ContentType="image/png"/>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1" r:id="rId2"/>
    <p:sldMasterId id="2147483715" r:id="rId3"/>
    <p:sldMasterId id="2147483740" r:id="rId4"/>
    <p:sldMasterId id="2147483762" r:id="rId5"/>
    <p:sldMasterId id="2147483766" r:id="rId6"/>
    <p:sldMasterId id="2147483804" r:id="rId7"/>
    <p:sldMasterId id="2147483827" r:id="rId8"/>
    <p:sldMasterId id="2147483862" r:id="rId9"/>
  </p:sldMasterIdLst>
  <p:notesMasterIdLst>
    <p:notesMasterId r:id="rId11"/>
  </p:notesMasterIdLst>
  <p:sldIdLst>
    <p:sldId id="4404"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tts" initials="W" lastIdx="12" clrIdx="0">
    <p:extLst>
      <p:ext uri="{19B8F6BF-5375-455C-9EA6-DF929625EA0E}">
        <p15:presenceInfo xmlns:p15="http://schemas.microsoft.com/office/powerpoint/2012/main" userId="Watts" providerId="None"/>
      </p:ext>
    </p:extLst>
  </p:cmAuthor>
  <p:cmAuthor id="2" name="Carrie Pogorelc" initials="CP" lastIdx="34" clrIdx="1">
    <p:extLst>
      <p:ext uri="{19B8F6BF-5375-455C-9EA6-DF929625EA0E}">
        <p15:presenceInfo xmlns:p15="http://schemas.microsoft.com/office/powerpoint/2012/main" userId="S-1-5-21-3498805899-2376028649-3634713762-1001" providerId="AD"/>
      </p:ext>
    </p:extLst>
  </p:cmAuthor>
  <p:cmAuthor id="3" name="Seema Kathuria" initials="SK" lastIdx="1" clrIdx="2">
    <p:extLst>
      <p:ext uri="{19B8F6BF-5375-455C-9EA6-DF929625EA0E}">
        <p15:presenceInfo xmlns:p15="http://schemas.microsoft.com/office/powerpoint/2012/main" userId="S::sekathur@microsoft.com::0a6191db-3f9f-48b4-8847-49ac2f3af4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DFD9"/>
    <a:srgbClr val="F9CAC1"/>
    <a:srgbClr val="94D7F1"/>
    <a:srgbClr val="F18976"/>
    <a:srgbClr val="BDB9B9"/>
    <a:srgbClr val="FFCF14"/>
    <a:srgbClr val="E0DEDF"/>
    <a:srgbClr val="CFCB3E"/>
    <a:srgbClr val="7AAE95"/>
    <a:srgbClr val="8D72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A9F49B-C7C8-44CD-81EE-50B2F8346471}" v="197" dt="2020-11-05T01:26:38.5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02" autoAdjust="0"/>
    <p:restoredTop sz="74178" autoAdjust="0"/>
  </p:normalViewPr>
  <p:slideViewPr>
    <p:cSldViewPr snapToGrid="0">
      <p:cViewPr varScale="1">
        <p:scale>
          <a:sx n="73" d="100"/>
          <a:sy n="73" d="100"/>
        </p:scale>
        <p:origin x="27" y="37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theme" Target="theme/theme1.xml"/><Relationship Id="rId10"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k Verma" userId="658c3117-1579-4ad0-bc27-385c6f2212e9" providerId="ADAL" clId="{4AA9F49B-C7C8-44CD-81EE-50B2F8346471}"/>
    <pc:docChg chg="undo redo custSel delSld modSld delSection modSection">
      <pc:chgData name="Vik Verma" userId="658c3117-1579-4ad0-bc27-385c6f2212e9" providerId="ADAL" clId="{4AA9F49B-C7C8-44CD-81EE-50B2F8346471}" dt="2020-11-05T01:27:30.277" v="1337" actId="17851"/>
      <pc:docMkLst>
        <pc:docMk/>
      </pc:docMkLst>
      <pc:sldChg chg="del">
        <pc:chgData name="Vik Verma" userId="658c3117-1579-4ad0-bc27-385c6f2212e9" providerId="ADAL" clId="{4AA9F49B-C7C8-44CD-81EE-50B2F8346471}" dt="2020-11-05T01:27:22.428" v="1334" actId="47"/>
        <pc:sldMkLst>
          <pc:docMk/>
          <pc:sldMk cId="846308024" sldId="4402"/>
        </pc:sldMkLst>
      </pc:sldChg>
      <pc:sldChg chg="del">
        <pc:chgData name="Vik Verma" userId="658c3117-1579-4ad0-bc27-385c6f2212e9" providerId="ADAL" clId="{4AA9F49B-C7C8-44CD-81EE-50B2F8346471}" dt="2020-11-05T01:27:21.482" v="1333" actId="47"/>
        <pc:sldMkLst>
          <pc:docMk/>
          <pc:sldMk cId="958065209" sldId="4403"/>
        </pc:sldMkLst>
      </pc:sldChg>
      <pc:sldChg chg="addSp delSp modSp mod modAnim">
        <pc:chgData name="Vik Verma" userId="658c3117-1579-4ad0-bc27-385c6f2212e9" providerId="ADAL" clId="{4AA9F49B-C7C8-44CD-81EE-50B2F8346471}" dt="2020-11-05T01:26:56.143" v="1332" actId="1037"/>
        <pc:sldMkLst>
          <pc:docMk/>
          <pc:sldMk cId="3277751935" sldId="4404"/>
        </pc:sldMkLst>
        <pc:spChg chg="mod">
          <ac:chgData name="Vik Verma" userId="658c3117-1579-4ad0-bc27-385c6f2212e9" providerId="ADAL" clId="{4AA9F49B-C7C8-44CD-81EE-50B2F8346471}" dt="2020-11-05T01:20:08.373" v="1124" actId="403"/>
          <ac:spMkLst>
            <pc:docMk/>
            <pc:sldMk cId="3277751935" sldId="4404"/>
            <ac:spMk id="5" creationId="{8B80A270-A039-4EA1-9EB4-B3857D93BFF8}"/>
          </ac:spMkLst>
        </pc:spChg>
        <pc:spChg chg="add del mod">
          <ac:chgData name="Vik Verma" userId="658c3117-1579-4ad0-bc27-385c6f2212e9" providerId="ADAL" clId="{4AA9F49B-C7C8-44CD-81EE-50B2F8346471}" dt="2020-11-04T04:34:48.013" v="589" actId="478"/>
          <ac:spMkLst>
            <pc:docMk/>
            <pc:sldMk cId="3277751935" sldId="4404"/>
            <ac:spMk id="7" creationId="{BCC4E1AA-F7D0-4B43-9188-3B2ED3CFC7A5}"/>
          </ac:spMkLst>
        </pc:spChg>
        <pc:spChg chg="mod">
          <ac:chgData name="Vik Verma" userId="658c3117-1579-4ad0-bc27-385c6f2212e9" providerId="ADAL" clId="{4AA9F49B-C7C8-44CD-81EE-50B2F8346471}" dt="2020-11-05T01:18:59.802" v="1087" actId="14100"/>
          <ac:spMkLst>
            <pc:docMk/>
            <pc:sldMk cId="3277751935" sldId="4404"/>
            <ac:spMk id="8" creationId="{0716D359-5FD5-41BB-BA63-C991E3061632}"/>
          </ac:spMkLst>
        </pc:spChg>
        <pc:spChg chg="mod">
          <ac:chgData name="Vik Verma" userId="658c3117-1579-4ad0-bc27-385c6f2212e9" providerId="ADAL" clId="{4AA9F49B-C7C8-44CD-81EE-50B2F8346471}" dt="2020-11-05T01:20:08.373" v="1124" actId="403"/>
          <ac:spMkLst>
            <pc:docMk/>
            <pc:sldMk cId="3277751935" sldId="4404"/>
            <ac:spMk id="9" creationId="{934D27E6-C80A-4F7E-882B-394C9C4A9824}"/>
          </ac:spMkLst>
        </pc:spChg>
        <pc:spChg chg="mod">
          <ac:chgData name="Vik Verma" userId="658c3117-1579-4ad0-bc27-385c6f2212e9" providerId="ADAL" clId="{4AA9F49B-C7C8-44CD-81EE-50B2F8346471}" dt="2020-11-05T01:21:36.905" v="1143" actId="1036"/>
          <ac:spMkLst>
            <pc:docMk/>
            <pc:sldMk cId="3277751935" sldId="4404"/>
            <ac:spMk id="11" creationId="{30529083-4E8C-4E06-882D-38A385AA374D}"/>
          </ac:spMkLst>
        </pc:spChg>
        <pc:spChg chg="mod">
          <ac:chgData name="Vik Verma" userId="658c3117-1579-4ad0-bc27-385c6f2212e9" providerId="ADAL" clId="{4AA9F49B-C7C8-44CD-81EE-50B2F8346471}" dt="2020-11-05T01:20:08.373" v="1124" actId="403"/>
          <ac:spMkLst>
            <pc:docMk/>
            <pc:sldMk cId="3277751935" sldId="4404"/>
            <ac:spMk id="12" creationId="{27E8A7F9-A06D-4ECF-B682-06D36161A0A5}"/>
          </ac:spMkLst>
        </pc:spChg>
        <pc:spChg chg="add del mod">
          <ac:chgData name="Vik Verma" userId="658c3117-1579-4ad0-bc27-385c6f2212e9" providerId="ADAL" clId="{4AA9F49B-C7C8-44CD-81EE-50B2F8346471}" dt="2020-11-04T04:29:05.567" v="510" actId="478"/>
          <ac:spMkLst>
            <pc:docMk/>
            <pc:sldMk cId="3277751935" sldId="4404"/>
            <ac:spMk id="14" creationId="{A4997081-5691-4E55-AB45-E8BFBB156002}"/>
          </ac:spMkLst>
        </pc:spChg>
        <pc:spChg chg="add mod">
          <ac:chgData name="Vik Verma" userId="658c3117-1579-4ad0-bc27-385c6f2212e9" providerId="ADAL" clId="{4AA9F49B-C7C8-44CD-81EE-50B2F8346471}" dt="2020-11-04T23:28:30.809" v="875" actId="1037"/>
          <ac:spMkLst>
            <pc:docMk/>
            <pc:sldMk cId="3277751935" sldId="4404"/>
            <ac:spMk id="15" creationId="{85D0902A-F70F-442E-B1E7-C0109A7442D2}"/>
          </ac:spMkLst>
        </pc:spChg>
        <pc:spChg chg="add mod">
          <ac:chgData name="Vik Verma" userId="658c3117-1579-4ad0-bc27-385c6f2212e9" providerId="ADAL" clId="{4AA9F49B-C7C8-44CD-81EE-50B2F8346471}" dt="2020-11-04T23:28:30.809" v="875" actId="1037"/>
          <ac:spMkLst>
            <pc:docMk/>
            <pc:sldMk cId="3277751935" sldId="4404"/>
            <ac:spMk id="16" creationId="{C44D5D9D-375C-49F5-9B3E-5AFEE4EB97E6}"/>
          </ac:spMkLst>
        </pc:spChg>
        <pc:spChg chg="add mod">
          <ac:chgData name="Vik Verma" userId="658c3117-1579-4ad0-bc27-385c6f2212e9" providerId="ADAL" clId="{4AA9F49B-C7C8-44CD-81EE-50B2F8346471}" dt="2020-11-04T23:28:30.809" v="875" actId="1037"/>
          <ac:spMkLst>
            <pc:docMk/>
            <pc:sldMk cId="3277751935" sldId="4404"/>
            <ac:spMk id="17" creationId="{9CB44815-2B1C-4213-B72F-367642CEF863}"/>
          </ac:spMkLst>
        </pc:spChg>
        <pc:spChg chg="add mod">
          <ac:chgData name="Vik Verma" userId="658c3117-1579-4ad0-bc27-385c6f2212e9" providerId="ADAL" clId="{4AA9F49B-C7C8-44CD-81EE-50B2F8346471}" dt="2020-11-04T23:28:30.809" v="875" actId="1037"/>
          <ac:spMkLst>
            <pc:docMk/>
            <pc:sldMk cId="3277751935" sldId="4404"/>
            <ac:spMk id="18" creationId="{9DD7B513-89E0-4A66-83B0-7FD7A1F0052D}"/>
          </ac:spMkLst>
        </pc:spChg>
        <pc:spChg chg="mod">
          <ac:chgData name="Vik Verma" userId="658c3117-1579-4ad0-bc27-385c6f2212e9" providerId="ADAL" clId="{4AA9F49B-C7C8-44CD-81EE-50B2F8346471}" dt="2020-11-05T01:19:15.375" v="1089" actId="6549"/>
          <ac:spMkLst>
            <pc:docMk/>
            <pc:sldMk cId="3277751935" sldId="4404"/>
            <ac:spMk id="20" creationId="{B7CA7F90-3D43-4C2C-86A5-EC130FB49BBD}"/>
          </ac:spMkLst>
        </pc:spChg>
        <pc:spChg chg="mod">
          <ac:chgData name="Vik Verma" userId="658c3117-1579-4ad0-bc27-385c6f2212e9" providerId="ADAL" clId="{4AA9F49B-C7C8-44CD-81EE-50B2F8346471}" dt="2020-11-04T23:28:30.809" v="875" actId="1037"/>
          <ac:spMkLst>
            <pc:docMk/>
            <pc:sldMk cId="3277751935" sldId="4404"/>
            <ac:spMk id="22" creationId="{192D5E1C-12A1-403D-9C86-0FE0BAAFD591}"/>
          </ac:spMkLst>
        </pc:spChg>
        <pc:spChg chg="mod">
          <ac:chgData name="Vik Verma" userId="658c3117-1579-4ad0-bc27-385c6f2212e9" providerId="ADAL" clId="{4AA9F49B-C7C8-44CD-81EE-50B2F8346471}" dt="2020-11-04T23:28:30.809" v="875" actId="1037"/>
          <ac:spMkLst>
            <pc:docMk/>
            <pc:sldMk cId="3277751935" sldId="4404"/>
            <ac:spMk id="24" creationId="{69B94E66-09AF-4545-ABE8-861D3A4CD291}"/>
          </ac:spMkLst>
        </pc:spChg>
        <pc:spChg chg="mod">
          <ac:chgData name="Vik Verma" userId="658c3117-1579-4ad0-bc27-385c6f2212e9" providerId="ADAL" clId="{4AA9F49B-C7C8-44CD-81EE-50B2F8346471}" dt="2020-11-04T23:28:30.809" v="875" actId="1037"/>
          <ac:spMkLst>
            <pc:docMk/>
            <pc:sldMk cId="3277751935" sldId="4404"/>
            <ac:spMk id="26" creationId="{94DF68D9-14DF-4A66-8E33-2B4734A83C17}"/>
          </ac:spMkLst>
        </pc:spChg>
        <pc:spChg chg="mod">
          <ac:chgData name="Vik Verma" userId="658c3117-1579-4ad0-bc27-385c6f2212e9" providerId="ADAL" clId="{4AA9F49B-C7C8-44CD-81EE-50B2F8346471}" dt="2020-11-04T23:28:30.809" v="875" actId="1037"/>
          <ac:spMkLst>
            <pc:docMk/>
            <pc:sldMk cId="3277751935" sldId="4404"/>
            <ac:spMk id="27" creationId="{05D62B3C-4B61-49EB-A916-A5C6D6F16A16}"/>
          </ac:spMkLst>
        </pc:spChg>
        <pc:spChg chg="mod">
          <ac:chgData name="Vik Verma" userId="658c3117-1579-4ad0-bc27-385c6f2212e9" providerId="ADAL" clId="{4AA9F49B-C7C8-44CD-81EE-50B2F8346471}" dt="2020-11-04T23:28:30.809" v="875" actId="1037"/>
          <ac:spMkLst>
            <pc:docMk/>
            <pc:sldMk cId="3277751935" sldId="4404"/>
            <ac:spMk id="29" creationId="{7CBA6AB2-B777-465C-9A2F-D886D73280F5}"/>
          </ac:spMkLst>
        </pc:spChg>
        <pc:spChg chg="mod">
          <ac:chgData name="Vik Verma" userId="658c3117-1579-4ad0-bc27-385c6f2212e9" providerId="ADAL" clId="{4AA9F49B-C7C8-44CD-81EE-50B2F8346471}" dt="2020-11-04T23:28:30.809" v="875" actId="1037"/>
          <ac:spMkLst>
            <pc:docMk/>
            <pc:sldMk cId="3277751935" sldId="4404"/>
            <ac:spMk id="30" creationId="{87B979F3-D7D2-4FDE-8E2A-9E6C571BD34D}"/>
          </ac:spMkLst>
        </pc:spChg>
        <pc:spChg chg="mod">
          <ac:chgData name="Vik Verma" userId="658c3117-1579-4ad0-bc27-385c6f2212e9" providerId="ADAL" clId="{4AA9F49B-C7C8-44CD-81EE-50B2F8346471}" dt="2020-11-04T23:28:30.809" v="875" actId="1037"/>
          <ac:spMkLst>
            <pc:docMk/>
            <pc:sldMk cId="3277751935" sldId="4404"/>
            <ac:spMk id="32" creationId="{C99DC447-BF4C-47C5-B44F-5C4989A3A38C}"/>
          </ac:spMkLst>
        </pc:spChg>
        <pc:spChg chg="mod">
          <ac:chgData name="Vik Verma" userId="658c3117-1579-4ad0-bc27-385c6f2212e9" providerId="ADAL" clId="{4AA9F49B-C7C8-44CD-81EE-50B2F8346471}" dt="2020-11-04T23:28:30.809" v="875" actId="1037"/>
          <ac:spMkLst>
            <pc:docMk/>
            <pc:sldMk cId="3277751935" sldId="4404"/>
            <ac:spMk id="33" creationId="{34311B24-4F40-42F6-8C7F-013CDBE39F28}"/>
          </ac:spMkLst>
        </pc:spChg>
        <pc:spChg chg="mod">
          <ac:chgData name="Vik Verma" userId="658c3117-1579-4ad0-bc27-385c6f2212e9" providerId="ADAL" clId="{4AA9F49B-C7C8-44CD-81EE-50B2F8346471}" dt="2020-11-04T23:28:30.809" v="875" actId="1037"/>
          <ac:spMkLst>
            <pc:docMk/>
            <pc:sldMk cId="3277751935" sldId="4404"/>
            <ac:spMk id="34" creationId="{49D4F9A6-CF99-4366-A4CC-FD7A863E5B47}"/>
          </ac:spMkLst>
        </pc:spChg>
        <pc:spChg chg="mod">
          <ac:chgData name="Vik Verma" userId="658c3117-1579-4ad0-bc27-385c6f2212e9" providerId="ADAL" clId="{4AA9F49B-C7C8-44CD-81EE-50B2F8346471}" dt="2020-11-04T23:28:30.809" v="875" actId="1037"/>
          <ac:spMkLst>
            <pc:docMk/>
            <pc:sldMk cId="3277751935" sldId="4404"/>
            <ac:spMk id="35" creationId="{98F3D24A-CD1F-49B5-ABF0-E8C9FC5086F2}"/>
          </ac:spMkLst>
        </pc:spChg>
        <pc:spChg chg="mod">
          <ac:chgData name="Vik Verma" userId="658c3117-1579-4ad0-bc27-385c6f2212e9" providerId="ADAL" clId="{4AA9F49B-C7C8-44CD-81EE-50B2F8346471}" dt="2020-11-04T23:28:30.809" v="875" actId="1037"/>
          <ac:spMkLst>
            <pc:docMk/>
            <pc:sldMk cId="3277751935" sldId="4404"/>
            <ac:spMk id="37" creationId="{780EF7ED-ADCD-445C-A6A3-58060FAB8F9A}"/>
          </ac:spMkLst>
        </pc:spChg>
        <pc:spChg chg="mod">
          <ac:chgData name="Vik Verma" userId="658c3117-1579-4ad0-bc27-385c6f2212e9" providerId="ADAL" clId="{4AA9F49B-C7C8-44CD-81EE-50B2F8346471}" dt="2020-11-04T23:28:30.809" v="875" actId="1037"/>
          <ac:spMkLst>
            <pc:docMk/>
            <pc:sldMk cId="3277751935" sldId="4404"/>
            <ac:spMk id="39" creationId="{C77B51ED-A286-4D4B-8235-C0C3FA7DFA3D}"/>
          </ac:spMkLst>
        </pc:spChg>
        <pc:spChg chg="mod">
          <ac:chgData name="Vik Verma" userId="658c3117-1579-4ad0-bc27-385c6f2212e9" providerId="ADAL" clId="{4AA9F49B-C7C8-44CD-81EE-50B2F8346471}" dt="2020-11-04T23:28:30.809" v="875" actId="1037"/>
          <ac:spMkLst>
            <pc:docMk/>
            <pc:sldMk cId="3277751935" sldId="4404"/>
            <ac:spMk id="41" creationId="{827ACD9A-6D03-4ABA-B4D7-D3799BE0F9A4}"/>
          </ac:spMkLst>
        </pc:spChg>
        <pc:spChg chg="mod">
          <ac:chgData name="Vik Verma" userId="658c3117-1579-4ad0-bc27-385c6f2212e9" providerId="ADAL" clId="{4AA9F49B-C7C8-44CD-81EE-50B2F8346471}" dt="2020-11-04T23:28:30.809" v="875" actId="1037"/>
          <ac:spMkLst>
            <pc:docMk/>
            <pc:sldMk cId="3277751935" sldId="4404"/>
            <ac:spMk id="42" creationId="{E678402B-7169-4E69-BDEA-EF3A27132CA7}"/>
          </ac:spMkLst>
        </pc:spChg>
        <pc:spChg chg="mod">
          <ac:chgData name="Vik Verma" userId="658c3117-1579-4ad0-bc27-385c6f2212e9" providerId="ADAL" clId="{4AA9F49B-C7C8-44CD-81EE-50B2F8346471}" dt="2020-11-04T23:28:30.809" v="875" actId="1037"/>
          <ac:spMkLst>
            <pc:docMk/>
            <pc:sldMk cId="3277751935" sldId="4404"/>
            <ac:spMk id="44" creationId="{76A01F70-4DFA-4CAD-95DB-C60280438046}"/>
          </ac:spMkLst>
        </pc:spChg>
        <pc:spChg chg="mod">
          <ac:chgData name="Vik Verma" userId="658c3117-1579-4ad0-bc27-385c6f2212e9" providerId="ADAL" clId="{4AA9F49B-C7C8-44CD-81EE-50B2F8346471}" dt="2020-11-04T23:28:30.809" v="875" actId="1037"/>
          <ac:spMkLst>
            <pc:docMk/>
            <pc:sldMk cId="3277751935" sldId="4404"/>
            <ac:spMk id="46" creationId="{D7DC3F42-FD3B-4703-B402-CD2EB94883CB}"/>
          </ac:spMkLst>
        </pc:spChg>
        <pc:spChg chg="mod">
          <ac:chgData name="Vik Verma" userId="658c3117-1579-4ad0-bc27-385c6f2212e9" providerId="ADAL" clId="{4AA9F49B-C7C8-44CD-81EE-50B2F8346471}" dt="2020-11-04T23:28:30.809" v="875" actId="1037"/>
          <ac:spMkLst>
            <pc:docMk/>
            <pc:sldMk cId="3277751935" sldId="4404"/>
            <ac:spMk id="48" creationId="{223BFE42-4440-4AA2-B236-C87AD1F38586}"/>
          </ac:spMkLst>
        </pc:spChg>
        <pc:spChg chg="mod">
          <ac:chgData name="Vik Verma" userId="658c3117-1579-4ad0-bc27-385c6f2212e9" providerId="ADAL" clId="{4AA9F49B-C7C8-44CD-81EE-50B2F8346471}" dt="2020-11-04T23:28:30.809" v="875" actId="1037"/>
          <ac:spMkLst>
            <pc:docMk/>
            <pc:sldMk cId="3277751935" sldId="4404"/>
            <ac:spMk id="49" creationId="{FE938934-5EF6-4ED2-A02B-0429637361CF}"/>
          </ac:spMkLst>
        </pc:spChg>
        <pc:spChg chg="mod">
          <ac:chgData name="Vik Verma" userId="658c3117-1579-4ad0-bc27-385c6f2212e9" providerId="ADAL" clId="{4AA9F49B-C7C8-44CD-81EE-50B2F8346471}" dt="2020-11-04T23:28:30.809" v="875" actId="1037"/>
          <ac:spMkLst>
            <pc:docMk/>
            <pc:sldMk cId="3277751935" sldId="4404"/>
            <ac:spMk id="50" creationId="{F4B9D426-E94F-4D0F-BE30-698BB1FA5464}"/>
          </ac:spMkLst>
        </pc:spChg>
        <pc:spChg chg="mod">
          <ac:chgData name="Vik Verma" userId="658c3117-1579-4ad0-bc27-385c6f2212e9" providerId="ADAL" clId="{4AA9F49B-C7C8-44CD-81EE-50B2F8346471}" dt="2020-11-04T23:28:30.809" v="875" actId="1037"/>
          <ac:spMkLst>
            <pc:docMk/>
            <pc:sldMk cId="3277751935" sldId="4404"/>
            <ac:spMk id="51" creationId="{AFEB3C00-6E34-4A24-BF1B-E3BB0C5684F8}"/>
          </ac:spMkLst>
        </pc:spChg>
        <pc:spChg chg="mod">
          <ac:chgData name="Vik Verma" userId="658c3117-1579-4ad0-bc27-385c6f2212e9" providerId="ADAL" clId="{4AA9F49B-C7C8-44CD-81EE-50B2F8346471}" dt="2020-11-04T23:28:30.809" v="875" actId="1037"/>
          <ac:spMkLst>
            <pc:docMk/>
            <pc:sldMk cId="3277751935" sldId="4404"/>
            <ac:spMk id="52" creationId="{5E77B6B1-F13E-483A-84F0-F156B4335A89}"/>
          </ac:spMkLst>
        </pc:spChg>
        <pc:spChg chg="mod">
          <ac:chgData name="Vik Verma" userId="658c3117-1579-4ad0-bc27-385c6f2212e9" providerId="ADAL" clId="{4AA9F49B-C7C8-44CD-81EE-50B2F8346471}" dt="2020-11-04T23:28:30.809" v="875" actId="1037"/>
          <ac:spMkLst>
            <pc:docMk/>
            <pc:sldMk cId="3277751935" sldId="4404"/>
            <ac:spMk id="53" creationId="{96CF7CD4-986D-4A44-8F1D-50C28C069544}"/>
          </ac:spMkLst>
        </pc:spChg>
        <pc:spChg chg="mod">
          <ac:chgData name="Vik Verma" userId="658c3117-1579-4ad0-bc27-385c6f2212e9" providerId="ADAL" clId="{4AA9F49B-C7C8-44CD-81EE-50B2F8346471}" dt="2020-11-04T23:28:30.809" v="875" actId="1037"/>
          <ac:spMkLst>
            <pc:docMk/>
            <pc:sldMk cId="3277751935" sldId="4404"/>
            <ac:spMk id="54" creationId="{3FA9E87F-8DE4-4A04-932E-676E52DF947B}"/>
          </ac:spMkLst>
        </pc:spChg>
        <pc:spChg chg="mod">
          <ac:chgData name="Vik Verma" userId="658c3117-1579-4ad0-bc27-385c6f2212e9" providerId="ADAL" clId="{4AA9F49B-C7C8-44CD-81EE-50B2F8346471}" dt="2020-11-04T23:28:30.809" v="875" actId="1037"/>
          <ac:spMkLst>
            <pc:docMk/>
            <pc:sldMk cId="3277751935" sldId="4404"/>
            <ac:spMk id="55" creationId="{40B71442-034F-4C10-A936-ED836F533F17}"/>
          </ac:spMkLst>
        </pc:spChg>
        <pc:spChg chg="add del mod">
          <ac:chgData name="Vik Verma" userId="658c3117-1579-4ad0-bc27-385c6f2212e9" providerId="ADAL" clId="{4AA9F49B-C7C8-44CD-81EE-50B2F8346471}" dt="2020-11-05T01:24:44.775" v="1261" actId="478"/>
          <ac:spMkLst>
            <pc:docMk/>
            <pc:sldMk cId="3277751935" sldId="4404"/>
            <ac:spMk id="58" creationId="{0E459B10-9F23-46FD-B5DA-152DA32E59DD}"/>
          </ac:spMkLst>
        </pc:spChg>
        <pc:spChg chg="add mod ord">
          <ac:chgData name="Vik Verma" userId="658c3117-1579-4ad0-bc27-385c6f2212e9" providerId="ADAL" clId="{4AA9F49B-C7C8-44CD-81EE-50B2F8346471}" dt="2020-11-05T01:26:08.353" v="1273" actId="1076"/>
          <ac:spMkLst>
            <pc:docMk/>
            <pc:sldMk cId="3277751935" sldId="4404"/>
            <ac:spMk id="60" creationId="{C81C4004-5C85-4AAC-AC4C-BD6E2C0A6F12}"/>
          </ac:spMkLst>
        </pc:spChg>
        <pc:spChg chg="mod">
          <ac:chgData name="Vik Verma" userId="658c3117-1579-4ad0-bc27-385c6f2212e9" providerId="ADAL" clId="{4AA9F49B-C7C8-44CD-81EE-50B2F8346471}" dt="2020-11-04T23:28:30.809" v="875" actId="1037"/>
          <ac:spMkLst>
            <pc:docMk/>
            <pc:sldMk cId="3277751935" sldId="4404"/>
            <ac:spMk id="61" creationId="{EC4E744E-A9F0-403A-8017-B708C14C1E51}"/>
          </ac:spMkLst>
        </pc:spChg>
        <pc:spChg chg="add mod ord">
          <ac:chgData name="Vik Verma" userId="658c3117-1579-4ad0-bc27-385c6f2212e9" providerId="ADAL" clId="{4AA9F49B-C7C8-44CD-81EE-50B2F8346471}" dt="2020-11-05T01:18:39.997" v="1085" actId="14100"/>
          <ac:spMkLst>
            <pc:docMk/>
            <pc:sldMk cId="3277751935" sldId="4404"/>
            <ac:spMk id="62" creationId="{618034E3-B31C-453C-AAA8-666438EC97D8}"/>
          </ac:spMkLst>
        </pc:spChg>
        <pc:spChg chg="add mod ord">
          <ac:chgData name="Vik Verma" userId="658c3117-1579-4ad0-bc27-385c6f2212e9" providerId="ADAL" clId="{4AA9F49B-C7C8-44CD-81EE-50B2F8346471}" dt="2020-11-04T23:38:58.690" v="963" actId="1076"/>
          <ac:spMkLst>
            <pc:docMk/>
            <pc:sldMk cId="3277751935" sldId="4404"/>
            <ac:spMk id="63" creationId="{BF96136C-FF9A-4C0E-9DAB-67B29F5A6DCC}"/>
          </ac:spMkLst>
        </pc:spChg>
        <pc:spChg chg="mod">
          <ac:chgData name="Vik Verma" userId="658c3117-1579-4ad0-bc27-385c6f2212e9" providerId="ADAL" clId="{4AA9F49B-C7C8-44CD-81EE-50B2F8346471}" dt="2020-11-05T01:23:38.622" v="1247" actId="20577"/>
          <ac:spMkLst>
            <pc:docMk/>
            <pc:sldMk cId="3277751935" sldId="4404"/>
            <ac:spMk id="64" creationId="{366E5796-48A5-4FBD-8D2B-C574DE4584F5}"/>
          </ac:spMkLst>
        </pc:spChg>
        <pc:spChg chg="add mod ord">
          <ac:chgData name="Vik Verma" userId="658c3117-1579-4ad0-bc27-385c6f2212e9" providerId="ADAL" clId="{4AA9F49B-C7C8-44CD-81EE-50B2F8346471}" dt="2020-11-04T23:26:37.308" v="852" actId="207"/>
          <ac:spMkLst>
            <pc:docMk/>
            <pc:sldMk cId="3277751935" sldId="4404"/>
            <ac:spMk id="65" creationId="{CD7D2D2A-FE6C-4975-97D8-E40B6BEB9E5F}"/>
          </ac:spMkLst>
        </pc:spChg>
        <pc:spChg chg="add mod">
          <ac:chgData name="Vik Verma" userId="658c3117-1579-4ad0-bc27-385c6f2212e9" providerId="ADAL" clId="{4AA9F49B-C7C8-44CD-81EE-50B2F8346471}" dt="2020-11-05T01:24:50.612" v="1262" actId="14100"/>
          <ac:spMkLst>
            <pc:docMk/>
            <pc:sldMk cId="3277751935" sldId="4404"/>
            <ac:spMk id="66" creationId="{3BA6B573-982E-4BCE-88C4-7D0B46B909DF}"/>
          </ac:spMkLst>
        </pc:spChg>
        <pc:spChg chg="add mod">
          <ac:chgData name="Vik Verma" userId="658c3117-1579-4ad0-bc27-385c6f2212e9" providerId="ADAL" clId="{4AA9F49B-C7C8-44CD-81EE-50B2F8346471}" dt="2020-11-05T01:15:25.344" v="1010" actId="20577"/>
          <ac:spMkLst>
            <pc:docMk/>
            <pc:sldMk cId="3277751935" sldId="4404"/>
            <ac:spMk id="67" creationId="{E23B3CA0-38C8-4FEA-A9C4-0AF5268873B4}"/>
          </ac:spMkLst>
        </pc:spChg>
        <pc:spChg chg="add mod">
          <ac:chgData name="Vik Verma" userId="658c3117-1579-4ad0-bc27-385c6f2212e9" providerId="ADAL" clId="{4AA9F49B-C7C8-44CD-81EE-50B2F8346471}" dt="2020-11-05T01:24:11.780" v="1260" actId="20577"/>
          <ac:spMkLst>
            <pc:docMk/>
            <pc:sldMk cId="3277751935" sldId="4404"/>
            <ac:spMk id="68" creationId="{47B65595-FB1B-4EB6-8244-F7D8D295D8A3}"/>
          </ac:spMkLst>
        </pc:spChg>
        <pc:spChg chg="add mod">
          <ac:chgData name="Vik Verma" userId="658c3117-1579-4ad0-bc27-385c6f2212e9" providerId="ADAL" clId="{4AA9F49B-C7C8-44CD-81EE-50B2F8346471}" dt="2020-11-05T01:18:19.493" v="1082" actId="1076"/>
          <ac:spMkLst>
            <pc:docMk/>
            <pc:sldMk cId="3277751935" sldId="4404"/>
            <ac:spMk id="69" creationId="{7577C2C8-C545-4AD8-A329-3923F41F9F79}"/>
          </ac:spMkLst>
        </pc:spChg>
        <pc:spChg chg="del mod topLvl">
          <ac:chgData name="Vik Verma" userId="658c3117-1579-4ad0-bc27-385c6f2212e9" providerId="ADAL" clId="{4AA9F49B-C7C8-44CD-81EE-50B2F8346471}" dt="2020-11-04T04:28:32.750" v="507" actId="478"/>
          <ac:spMkLst>
            <pc:docMk/>
            <pc:sldMk cId="3277751935" sldId="4404"/>
            <ac:spMk id="106" creationId="{FCA31B18-7242-4436-8DE4-C58F0DEB7760}"/>
          </ac:spMkLst>
        </pc:spChg>
        <pc:spChg chg="mod topLvl">
          <ac:chgData name="Vik Verma" userId="658c3117-1579-4ad0-bc27-385c6f2212e9" providerId="ADAL" clId="{4AA9F49B-C7C8-44CD-81EE-50B2F8346471}" dt="2020-11-05T01:20:08.373" v="1124" actId="403"/>
          <ac:spMkLst>
            <pc:docMk/>
            <pc:sldMk cId="3277751935" sldId="4404"/>
            <ac:spMk id="144" creationId="{13557256-7524-4FBA-A99F-19460DB8CB6C}"/>
          </ac:spMkLst>
        </pc:spChg>
        <pc:spChg chg="mod">
          <ac:chgData name="Vik Verma" userId="658c3117-1579-4ad0-bc27-385c6f2212e9" providerId="ADAL" clId="{4AA9F49B-C7C8-44CD-81EE-50B2F8346471}" dt="2020-11-04T23:28:30.809" v="875" actId="1037"/>
          <ac:spMkLst>
            <pc:docMk/>
            <pc:sldMk cId="3277751935" sldId="4404"/>
            <ac:spMk id="152" creationId="{87C11901-AA7E-4D2D-98D3-085D53DACC5B}"/>
          </ac:spMkLst>
        </pc:spChg>
        <pc:spChg chg="mod topLvl">
          <ac:chgData name="Vik Verma" userId="658c3117-1579-4ad0-bc27-385c6f2212e9" providerId="ADAL" clId="{4AA9F49B-C7C8-44CD-81EE-50B2F8346471}" dt="2020-11-04T23:28:30.809" v="875" actId="1037"/>
          <ac:spMkLst>
            <pc:docMk/>
            <pc:sldMk cId="3277751935" sldId="4404"/>
            <ac:spMk id="219" creationId="{2EEC8D66-384C-460E-9FA2-3C9CF1993524}"/>
          </ac:spMkLst>
        </pc:spChg>
        <pc:spChg chg="mod">
          <ac:chgData name="Vik Verma" userId="658c3117-1579-4ad0-bc27-385c6f2212e9" providerId="ADAL" clId="{4AA9F49B-C7C8-44CD-81EE-50B2F8346471}" dt="2020-11-05T01:20:08.373" v="1124" actId="403"/>
          <ac:spMkLst>
            <pc:docMk/>
            <pc:sldMk cId="3277751935" sldId="4404"/>
            <ac:spMk id="233" creationId="{5B21A880-9D16-4BFB-8979-CF26469B7351}"/>
          </ac:spMkLst>
        </pc:spChg>
        <pc:spChg chg="mod">
          <ac:chgData name="Vik Verma" userId="658c3117-1579-4ad0-bc27-385c6f2212e9" providerId="ADAL" clId="{4AA9F49B-C7C8-44CD-81EE-50B2F8346471}" dt="2020-11-05T01:20:08.373" v="1124" actId="403"/>
          <ac:spMkLst>
            <pc:docMk/>
            <pc:sldMk cId="3277751935" sldId="4404"/>
            <ac:spMk id="240" creationId="{771B1E07-29D7-4929-811A-0123771CFD8A}"/>
          </ac:spMkLst>
        </pc:spChg>
        <pc:spChg chg="mod">
          <ac:chgData name="Vik Verma" userId="658c3117-1579-4ad0-bc27-385c6f2212e9" providerId="ADAL" clId="{4AA9F49B-C7C8-44CD-81EE-50B2F8346471}" dt="2020-11-05T01:20:08.373" v="1124" actId="403"/>
          <ac:spMkLst>
            <pc:docMk/>
            <pc:sldMk cId="3277751935" sldId="4404"/>
            <ac:spMk id="243" creationId="{64FFA0EB-E8B5-4DDB-AA7A-D66224F2CC43}"/>
          </ac:spMkLst>
        </pc:spChg>
        <pc:spChg chg="mod">
          <ac:chgData name="Vik Verma" userId="658c3117-1579-4ad0-bc27-385c6f2212e9" providerId="ADAL" clId="{4AA9F49B-C7C8-44CD-81EE-50B2F8346471}" dt="2020-11-04T23:28:30.809" v="875" actId="1037"/>
          <ac:spMkLst>
            <pc:docMk/>
            <pc:sldMk cId="3277751935" sldId="4404"/>
            <ac:spMk id="247" creationId="{481B45B8-D7C3-4251-BD57-19992B1290CB}"/>
          </ac:spMkLst>
        </pc:spChg>
        <pc:spChg chg="mod">
          <ac:chgData name="Vik Verma" userId="658c3117-1579-4ad0-bc27-385c6f2212e9" providerId="ADAL" clId="{4AA9F49B-C7C8-44CD-81EE-50B2F8346471}" dt="2020-11-04T23:28:30.809" v="875" actId="1037"/>
          <ac:spMkLst>
            <pc:docMk/>
            <pc:sldMk cId="3277751935" sldId="4404"/>
            <ac:spMk id="249" creationId="{15C49E63-B276-4783-937D-63A8AA57D4FB}"/>
          </ac:spMkLst>
        </pc:spChg>
        <pc:spChg chg="mod">
          <ac:chgData name="Vik Verma" userId="658c3117-1579-4ad0-bc27-385c6f2212e9" providerId="ADAL" clId="{4AA9F49B-C7C8-44CD-81EE-50B2F8346471}" dt="2020-11-04T23:28:30.809" v="875" actId="1037"/>
          <ac:spMkLst>
            <pc:docMk/>
            <pc:sldMk cId="3277751935" sldId="4404"/>
            <ac:spMk id="251" creationId="{AFD29CFC-8852-4978-84E5-0E227A3A6EA0}"/>
          </ac:spMkLst>
        </pc:spChg>
        <pc:spChg chg="mod">
          <ac:chgData name="Vik Verma" userId="658c3117-1579-4ad0-bc27-385c6f2212e9" providerId="ADAL" clId="{4AA9F49B-C7C8-44CD-81EE-50B2F8346471}" dt="2020-11-04T23:28:30.809" v="875" actId="1037"/>
          <ac:spMkLst>
            <pc:docMk/>
            <pc:sldMk cId="3277751935" sldId="4404"/>
            <ac:spMk id="253" creationId="{5DE206A6-561A-414C-974E-97EBF2969DD4}"/>
          </ac:spMkLst>
        </pc:spChg>
        <pc:spChg chg="mod">
          <ac:chgData name="Vik Verma" userId="658c3117-1579-4ad0-bc27-385c6f2212e9" providerId="ADAL" clId="{4AA9F49B-C7C8-44CD-81EE-50B2F8346471}" dt="2020-11-04T23:28:30.809" v="875" actId="1037"/>
          <ac:spMkLst>
            <pc:docMk/>
            <pc:sldMk cId="3277751935" sldId="4404"/>
            <ac:spMk id="255" creationId="{812DF833-5DCC-464E-B7FF-CD9296377E2B}"/>
          </ac:spMkLst>
        </pc:spChg>
        <pc:spChg chg="mod">
          <ac:chgData name="Vik Verma" userId="658c3117-1579-4ad0-bc27-385c6f2212e9" providerId="ADAL" clId="{4AA9F49B-C7C8-44CD-81EE-50B2F8346471}" dt="2020-11-04T23:28:30.809" v="875" actId="1037"/>
          <ac:spMkLst>
            <pc:docMk/>
            <pc:sldMk cId="3277751935" sldId="4404"/>
            <ac:spMk id="257" creationId="{71AC74C8-C6A3-4B44-BFF8-86F08EAAB0CA}"/>
          </ac:spMkLst>
        </pc:spChg>
        <pc:spChg chg="mod">
          <ac:chgData name="Vik Verma" userId="658c3117-1579-4ad0-bc27-385c6f2212e9" providerId="ADAL" clId="{4AA9F49B-C7C8-44CD-81EE-50B2F8346471}" dt="2020-11-04T23:28:30.809" v="875" actId="1037"/>
          <ac:spMkLst>
            <pc:docMk/>
            <pc:sldMk cId="3277751935" sldId="4404"/>
            <ac:spMk id="259" creationId="{8EB063E9-A499-416B-BCF2-2B74718A6811}"/>
          </ac:spMkLst>
        </pc:spChg>
        <pc:spChg chg="mod">
          <ac:chgData name="Vik Verma" userId="658c3117-1579-4ad0-bc27-385c6f2212e9" providerId="ADAL" clId="{4AA9F49B-C7C8-44CD-81EE-50B2F8346471}" dt="2020-11-04T23:28:30.809" v="875" actId="1037"/>
          <ac:spMkLst>
            <pc:docMk/>
            <pc:sldMk cId="3277751935" sldId="4404"/>
            <ac:spMk id="262" creationId="{474C6D7B-96C1-46F0-A102-79E83192112D}"/>
          </ac:spMkLst>
        </pc:spChg>
        <pc:spChg chg="mod">
          <ac:chgData name="Vik Verma" userId="658c3117-1579-4ad0-bc27-385c6f2212e9" providerId="ADAL" clId="{4AA9F49B-C7C8-44CD-81EE-50B2F8346471}" dt="2020-11-04T23:28:30.809" v="875" actId="1037"/>
          <ac:spMkLst>
            <pc:docMk/>
            <pc:sldMk cId="3277751935" sldId="4404"/>
            <ac:spMk id="264" creationId="{7D274496-0E54-43AE-9A7F-673D73409205}"/>
          </ac:spMkLst>
        </pc:spChg>
        <pc:spChg chg="mod">
          <ac:chgData name="Vik Verma" userId="658c3117-1579-4ad0-bc27-385c6f2212e9" providerId="ADAL" clId="{4AA9F49B-C7C8-44CD-81EE-50B2F8346471}" dt="2020-11-04T23:28:30.809" v="875" actId="1037"/>
          <ac:spMkLst>
            <pc:docMk/>
            <pc:sldMk cId="3277751935" sldId="4404"/>
            <ac:spMk id="266" creationId="{C58A291C-7D16-4086-9A99-0D14C77B40F0}"/>
          </ac:spMkLst>
        </pc:spChg>
        <pc:spChg chg="mod">
          <ac:chgData name="Vik Verma" userId="658c3117-1579-4ad0-bc27-385c6f2212e9" providerId="ADAL" clId="{4AA9F49B-C7C8-44CD-81EE-50B2F8346471}" dt="2020-11-04T23:28:30.809" v="875" actId="1037"/>
          <ac:spMkLst>
            <pc:docMk/>
            <pc:sldMk cId="3277751935" sldId="4404"/>
            <ac:spMk id="268" creationId="{D28BAFF3-B910-4C43-A02A-79CDDF472CC9}"/>
          </ac:spMkLst>
        </pc:spChg>
        <pc:spChg chg="mod">
          <ac:chgData name="Vik Verma" userId="658c3117-1579-4ad0-bc27-385c6f2212e9" providerId="ADAL" clId="{4AA9F49B-C7C8-44CD-81EE-50B2F8346471}" dt="2020-11-04T23:28:30.809" v="875" actId="1037"/>
          <ac:spMkLst>
            <pc:docMk/>
            <pc:sldMk cId="3277751935" sldId="4404"/>
            <ac:spMk id="274" creationId="{14ECBED7-3524-4A40-97BC-C16A4595C1BB}"/>
          </ac:spMkLst>
        </pc:spChg>
        <pc:spChg chg="mod">
          <ac:chgData name="Vik Verma" userId="658c3117-1579-4ad0-bc27-385c6f2212e9" providerId="ADAL" clId="{4AA9F49B-C7C8-44CD-81EE-50B2F8346471}" dt="2020-11-04T23:28:30.809" v="875" actId="1037"/>
          <ac:spMkLst>
            <pc:docMk/>
            <pc:sldMk cId="3277751935" sldId="4404"/>
            <ac:spMk id="286" creationId="{8474CFC1-86C0-4345-9617-C5AD4DCB26E5}"/>
          </ac:spMkLst>
        </pc:spChg>
        <pc:spChg chg="mod">
          <ac:chgData name="Vik Verma" userId="658c3117-1579-4ad0-bc27-385c6f2212e9" providerId="ADAL" clId="{4AA9F49B-C7C8-44CD-81EE-50B2F8346471}" dt="2020-11-04T23:28:30.809" v="875" actId="1037"/>
          <ac:spMkLst>
            <pc:docMk/>
            <pc:sldMk cId="3277751935" sldId="4404"/>
            <ac:spMk id="288" creationId="{4F89C16F-87A3-4C81-B534-E790B12A6114}"/>
          </ac:spMkLst>
        </pc:spChg>
        <pc:spChg chg="mod">
          <ac:chgData name="Vik Verma" userId="658c3117-1579-4ad0-bc27-385c6f2212e9" providerId="ADAL" clId="{4AA9F49B-C7C8-44CD-81EE-50B2F8346471}" dt="2020-11-04T23:28:30.809" v="875" actId="1037"/>
          <ac:spMkLst>
            <pc:docMk/>
            <pc:sldMk cId="3277751935" sldId="4404"/>
            <ac:spMk id="290" creationId="{FA84FF72-312E-4192-A723-773F735C59D6}"/>
          </ac:spMkLst>
        </pc:spChg>
        <pc:spChg chg="mod">
          <ac:chgData name="Vik Verma" userId="658c3117-1579-4ad0-bc27-385c6f2212e9" providerId="ADAL" clId="{4AA9F49B-C7C8-44CD-81EE-50B2F8346471}" dt="2020-11-04T23:28:30.809" v="875" actId="1037"/>
          <ac:spMkLst>
            <pc:docMk/>
            <pc:sldMk cId="3277751935" sldId="4404"/>
            <ac:spMk id="292" creationId="{55902A2C-4FDB-4B12-A4CD-98D04E7CA2B3}"/>
          </ac:spMkLst>
        </pc:spChg>
        <pc:spChg chg="mod">
          <ac:chgData name="Vik Verma" userId="658c3117-1579-4ad0-bc27-385c6f2212e9" providerId="ADAL" clId="{4AA9F49B-C7C8-44CD-81EE-50B2F8346471}" dt="2020-11-05T01:21:36.905" v="1143" actId="1036"/>
          <ac:spMkLst>
            <pc:docMk/>
            <pc:sldMk cId="3277751935" sldId="4404"/>
            <ac:spMk id="293" creationId="{A71A88C5-370B-4EB3-BB5D-EEE9A25E4F21}"/>
          </ac:spMkLst>
        </pc:spChg>
        <pc:spChg chg="mod">
          <ac:chgData name="Vik Verma" userId="658c3117-1579-4ad0-bc27-385c6f2212e9" providerId="ADAL" clId="{4AA9F49B-C7C8-44CD-81EE-50B2F8346471}" dt="2020-11-05T01:21:36.905" v="1143" actId="1036"/>
          <ac:spMkLst>
            <pc:docMk/>
            <pc:sldMk cId="3277751935" sldId="4404"/>
            <ac:spMk id="297" creationId="{89909A80-CF84-4B98-A9F5-C81910C81CC4}"/>
          </ac:spMkLst>
        </pc:spChg>
        <pc:spChg chg="mod">
          <ac:chgData name="Vik Verma" userId="658c3117-1579-4ad0-bc27-385c6f2212e9" providerId="ADAL" clId="{4AA9F49B-C7C8-44CD-81EE-50B2F8346471}" dt="2020-11-05T01:22:01.090" v="1150" actId="14100"/>
          <ac:spMkLst>
            <pc:docMk/>
            <pc:sldMk cId="3277751935" sldId="4404"/>
            <ac:spMk id="324" creationId="{FD0B9105-65B9-4825-BC7E-D7A2D5FF268C}"/>
          </ac:spMkLst>
        </pc:spChg>
        <pc:spChg chg="mod">
          <ac:chgData name="Vik Verma" userId="658c3117-1579-4ad0-bc27-385c6f2212e9" providerId="ADAL" clId="{4AA9F49B-C7C8-44CD-81EE-50B2F8346471}" dt="2020-11-05T01:22:09.056" v="1154" actId="14100"/>
          <ac:spMkLst>
            <pc:docMk/>
            <pc:sldMk cId="3277751935" sldId="4404"/>
            <ac:spMk id="326" creationId="{0DD2E6E5-0C6E-4DB0-8E0E-6FC8EA4F478E}"/>
          </ac:spMkLst>
        </pc:spChg>
        <pc:spChg chg="mod">
          <ac:chgData name="Vik Verma" userId="658c3117-1579-4ad0-bc27-385c6f2212e9" providerId="ADAL" clId="{4AA9F49B-C7C8-44CD-81EE-50B2F8346471}" dt="2020-11-05T01:22:28.986" v="1165" actId="1035"/>
          <ac:spMkLst>
            <pc:docMk/>
            <pc:sldMk cId="3277751935" sldId="4404"/>
            <ac:spMk id="327" creationId="{82C89756-75F3-49E4-80E3-0C0339643FB1}"/>
          </ac:spMkLst>
        </pc:spChg>
        <pc:spChg chg="mod">
          <ac:chgData name="Vik Verma" userId="658c3117-1579-4ad0-bc27-385c6f2212e9" providerId="ADAL" clId="{4AA9F49B-C7C8-44CD-81EE-50B2F8346471}" dt="2020-11-05T01:21:55.554" v="1146" actId="14100"/>
          <ac:spMkLst>
            <pc:docMk/>
            <pc:sldMk cId="3277751935" sldId="4404"/>
            <ac:spMk id="329" creationId="{1CFE848D-650B-4671-B0B3-6505FB3AC038}"/>
          </ac:spMkLst>
        </pc:spChg>
        <pc:spChg chg="mod">
          <ac:chgData name="Vik Verma" userId="658c3117-1579-4ad0-bc27-385c6f2212e9" providerId="ADAL" clId="{4AA9F49B-C7C8-44CD-81EE-50B2F8346471}" dt="2020-11-05T01:22:22.125" v="1155" actId="207"/>
          <ac:spMkLst>
            <pc:docMk/>
            <pc:sldMk cId="3277751935" sldId="4404"/>
            <ac:spMk id="332" creationId="{473F8D0D-7F5A-4CEE-BD13-00CC7B0F5539}"/>
          </ac:spMkLst>
        </pc:spChg>
        <pc:spChg chg="mod">
          <ac:chgData name="Vik Verma" userId="658c3117-1579-4ad0-bc27-385c6f2212e9" providerId="ADAL" clId="{4AA9F49B-C7C8-44CD-81EE-50B2F8346471}" dt="2020-11-05T01:21:36.905" v="1143" actId="1036"/>
          <ac:spMkLst>
            <pc:docMk/>
            <pc:sldMk cId="3277751935" sldId="4404"/>
            <ac:spMk id="334" creationId="{9167A303-F006-496D-AD8B-6FC0CBCA4EEF}"/>
          </ac:spMkLst>
        </pc:spChg>
        <pc:spChg chg="mod">
          <ac:chgData name="Vik Verma" userId="658c3117-1579-4ad0-bc27-385c6f2212e9" providerId="ADAL" clId="{4AA9F49B-C7C8-44CD-81EE-50B2F8346471}" dt="2020-11-04T04:19:54.065" v="180" actId="122"/>
          <ac:spMkLst>
            <pc:docMk/>
            <pc:sldMk cId="3277751935" sldId="4404"/>
            <ac:spMk id="336" creationId="{F9F4741E-76C1-4760-AAF3-C4E4254AADD0}"/>
          </ac:spMkLst>
        </pc:spChg>
        <pc:grpChg chg="add mod">
          <ac:chgData name="Vik Verma" userId="658c3117-1579-4ad0-bc27-385c6f2212e9" providerId="ADAL" clId="{4AA9F49B-C7C8-44CD-81EE-50B2F8346471}" dt="2020-11-04T23:28:30.809" v="875" actId="1037"/>
          <ac:grpSpMkLst>
            <pc:docMk/>
            <pc:sldMk cId="3277751935" sldId="4404"/>
            <ac:grpSpMk id="2" creationId="{85CD3829-EDA7-402C-AD67-727064911972}"/>
          </ac:grpSpMkLst>
        </pc:grpChg>
        <pc:grpChg chg="add mod">
          <ac:chgData name="Vik Verma" userId="658c3117-1579-4ad0-bc27-385c6f2212e9" providerId="ADAL" clId="{4AA9F49B-C7C8-44CD-81EE-50B2F8346471}" dt="2020-11-04T23:28:30.809" v="875" actId="1037"/>
          <ac:grpSpMkLst>
            <pc:docMk/>
            <pc:sldMk cId="3277751935" sldId="4404"/>
            <ac:grpSpMk id="3" creationId="{59FCA5A4-D0B8-43A0-8DA8-C6E3976FE908}"/>
          </ac:grpSpMkLst>
        </pc:grpChg>
        <pc:grpChg chg="add mod">
          <ac:chgData name="Vik Verma" userId="658c3117-1579-4ad0-bc27-385c6f2212e9" providerId="ADAL" clId="{4AA9F49B-C7C8-44CD-81EE-50B2F8346471}" dt="2020-11-05T01:21:36.905" v="1143" actId="1036"/>
          <ac:grpSpMkLst>
            <pc:docMk/>
            <pc:sldMk cId="3277751935" sldId="4404"/>
            <ac:grpSpMk id="4" creationId="{1846A86A-A0F6-4C1A-A6BA-58ED227F9E45}"/>
          </ac:grpSpMkLst>
        </pc:grpChg>
        <pc:grpChg chg="mod">
          <ac:chgData name="Vik Verma" userId="658c3117-1579-4ad0-bc27-385c6f2212e9" providerId="ADAL" clId="{4AA9F49B-C7C8-44CD-81EE-50B2F8346471}" dt="2020-11-05T01:21:36.905" v="1143" actId="1036"/>
          <ac:grpSpMkLst>
            <pc:docMk/>
            <pc:sldMk cId="3277751935" sldId="4404"/>
            <ac:grpSpMk id="13" creationId="{557F152F-A062-4865-AF40-191FB20B0857}"/>
          </ac:grpSpMkLst>
        </pc:grpChg>
        <pc:grpChg chg="add mod">
          <ac:chgData name="Vik Verma" userId="658c3117-1579-4ad0-bc27-385c6f2212e9" providerId="ADAL" clId="{4AA9F49B-C7C8-44CD-81EE-50B2F8346471}" dt="2020-11-04T23:28:30.809" v="875" actId="1037"/>
          <ac:grpSpMkLst>
            <pc:docMk/>
            <pc:sldMk cId="3277751935" sldId="4404"/>
            <ac:grpSpMk id="19" creationId="{306A29F4-8840-436A-A20A-AB9AF8A7D94A}"/>
          </ac:grpSpMkLst>
        </pc:grpChg>
        <pc:grpChg chg="mod">
          <ac:chgData name="Vik Verma" userId="658c3117-1579-4ad0-bc27-385c6f2212e9" providerId="ADAL" clId="{4AA9F49B-C7C8-44CD-81EE-50B2F8346471}" dt="2020-11-04T23:28:30.809" v="875" actId="1037"/>
          <ac:grpSpMkLst>
            <pc:docMk/>
            <pc:sldMk cId="3277751935" sldId="4404"/>
            <ac:grpSpMk id="21" creationId="{2CB0842A-55C9-48DA-B3A7-287220C838E2}"/>
          </ac:grpSpMkLst>
        </pc:grpChg>
        <pc:grpChg chg="mod">
          <ac:chgData name="Vik Verma" userId="658c3117-1579-4ad0-bc27-385c6f2212e9" providerId="ADAL" clId="{4AA9F49B-C7C8-44CD-81EE-50B2F8346471}" dt="2020-11-04T23:28:30.809" v="875" actId="1037"/>
          <ac:grpSpMkLst>
            <pc:docMk/>
            <pc:sldMk cId="3277751935" sldId="4404"/>
            <ac:grpSpMk id="23" creationId="{EB311237-BF82-422E-893B-48EBD95BD04F}"/>
          </ac:grpSpMkLst>
        </pc:grpChg>
        <pc:grpChg chg="mod">
          <ac:chgData name="Vik Verma" userId="658c3117-1579-4ad0-bc27-385c6f2212e9" providerId="ADAL" clId="{4AA9F49B-C7C8-44CD-81EE-50B2F8346471}" dt="2020-11-04T23:28:30.809" v="875" actId="1037"/>
          <ac:grpSpMkLst>
            <pc:docMk/>
            <pc:sldMk cId="3277751935" sldId="4404"/>
            <ac:grpSpMk id="25" creationId="{E025E602-B622-4553-AF02-018E661261D9}"/>
          </ac:grpSpMkLst>
        </pc:grpChg>
        <pc:grpChg chg="mod">
          <ac:chgData name="Vik Verma" userId="658c3117-1579-4ad0-bc27-385c6f2212e9" providerId="ADAL" clId="{4AA9F49B-C7C8-44CD-81EE-50B2F8346471}" dt="2020-11-04T23:28:30.809" v="875" actId="1037"/>
          <ac:grpSpMkLst>
            <pc:docMk/>
            <pc:sldMk cId="3277751935" sldId="4404"/>
            <ac:grpSpMk id="28" creationId="{BE9B3339-40E8-4026-92AF-A616EDC0B89B}"/>
          </ac:grpSpMkLst>
        </pc:grpChg>
        <pc:grpChg chg="mod">
          <ac:chgData name="Vik Verma" userId="658c3117-1579-4ad0-bc27-385c6f2212e9" providerId="ADAL" clId="{4AA9F49B-C7C8-44CD-81EE-50B2F8346471}" dt="2020-11-04T23:28:30.809" v="875" actId="1037"/>
          <ac:grpSpMkLst>
            <pc:docMk/>
            <pc:sldMk cId="3277751935" sldId="4404"/>
            <ac:grpSpMk id="31" creationId="{64058DA2-0B2E-4ECB-9D7C-C9CAEE174194}"/>
          </ac:grpSpMkLst>
        </pc:grpChg>
        <pc:grpChg chg="mod">
          <ac:chgData name="Vik Verma" userId="658c3117-1579-4ad0-bc27-385c6f2212e9" providerId="ADAL" clId="{4AA9F49B-C7C8-44CD-81EE-50B2F8346471}" dt="2020-11-04T23:28:30.809" v="875" actId="1037"/>
          <ac:grpSpMkLst>
            <pc:docMk/>
            <pc:sldMk cId="3277751935" sldId="4404"/>
            <ac:grpSpMk id="36" creationId="{7D544FA2-32DF-40B6-B912-804101F8234B}"/>
          </ac:grpSpMkLst>
        </pc:grpChg>
        <pc:grpChg chg="mod">
          <ac:chgData name="Vik Verma" userId="658c3117-1579-4ad0-bc27-385c6f2212e9" providerId="ADAL" clId="{4AA9F49B-C7C8-44CD-81EE-50B2F8346471}" dt="2020-11-04T23:28:30.809" v="875" actId="1037"/>
          <ac:grpSpMkLst>
            <pc:docMk/>
            <pc:sldMk cId="3277751935" sldId="4404"/>
            <ac:grpSpMk id="38" creationId="{412F828F-A177-4B16-81B3-04CF9DDD667C}"/>
          </ac:grpSpMkLst>
        </pc:grpChg>
        <pc:grpChg chg="mod">
          <ac:chgData name="Vik Verma" userId="658c3117-1579-4ad0-bc27-385c6f2212e9" providerId="ADAL" clId="{4AA9F49B-C7C8-44CD-81EE-50B2F8346471}" dt="2020-11-04T23:28:30.809" v="875" actId="1037"/>
          <ac:grpSpMkLst>
            <pc:docMk/>
            <pc:sldMk cId="3277751935" sldId="4404"/>
            <ac:grpSpMk id="43" creationId="{608E60E7-CA08-4CE9-BD09-100CBA00F3E5}"/>
          </ac:grpSpMkLst>
        </pc:grpChg>
        <pc:grpChg chg="mod">
          <ac:chgData name="Vik Verma" userId="658c3117-1579-4ad0-bc27-385c6f2212e9" providerId="ADAL" clId="{4AA9F49B-C7C8-44CD-81EE-50B2F8346471}" dt="2020-11-04T23:28:30.809" v="875" actId="1037"/>
          <ac:grpSpMkLst>
            <pc:docMk/>
            <pc:sldMk cId="3277751935" sldId="4404"/>
            <ac:grpSpMk id="45" creationId="{3565BAF0-7474-43BB-A4D7-349ADDAF41AB}"/>
          </ac:grpSpMkLst>
        </pc:grpChg>
        <pc:grpChg chg="add mod">
          <ac:chgData name="Vik Verma" userId="658c3117-1579-4ad0-bc27-385c6f2212e9" providerId="ADAL" clId="{4AA9F49B-C7C8-44CD-81EE-50B2F8346471}" dt="2020-11-05T01:26:56.143" v="1332" actId="1037"/>
          <ac:grpSpMkLst>
            <pc:docMk/>
            <pc:sldMk cId="3277751935" sldId="4404"/>
            <ac:grpSpMk id="75" creationId="{95D64D70-AA04-4E55-B310-2EA7B3FE8931}"/>
          </ac:grpSpMkLst>
        </pc:grpChg>
        <pc:grpChg chg="del mod">
          <ac:chgData name="Vik Verma" userId="658c3117-1579-4ad0-bc27-385c6f2212e9" providerId="ADAL" clId="{4AA9F49B-C7C8-44CD-81EE-50B2F8346471}" dt="2020-11-04T04:24:35.073" v="474" actId="165"/>
          <ac:grpSpMkLst>
            <pc:docMk/>
            <pc:sldMk cId="3277751935" sldId="4404"/>
            <ac:grpSpMk id="87" creationId="{4BA016FD-25E5-4C32-B391-314BF60EE592}"/>
          </ac:grpSpMkLst>
        </pc:grpChg>
        <pc:grpChg chg="add del mod">
          <ac:chgData name="Vik Verma" userId="658c3117-1579-4ad0-bc27-385c6f2212e9" providerId="ADAL" clId="{4AA9F49B-C7C8-44CD-81EE-50B2F8346471}" dt="2020-11-04T04:25:52.269" v="481" actId="165"/>
          <ac:grpSpMkLst>
            <pc:docMk/>
            <pc:sldMk cId="3277751935" sldId="4404"/>
            <ac:grpSpMk id="105" creationId="{DE4C5836-A94B-494B-9DA3-DB8B7C230C8B}"/>
          </ac:grpSpMkLst>
        </pc:grpChg>
        <pc:grpChg chg="add mod">
          <ac:chgData name="Vik Verma" userId="658c3117-1579-4ad0-bc27-385c6f2212e9" providerId="ADAL" clId="{4AA9F49B-C7C8-44CD-81EE-50B2F8346471}" dt="2020-11-05T01:26:56.143" v="1332" actId="1037"/>
          <ac:grpSpMkLst>
            <pc:docMk/>
            <pc:sldMk cId="3277751935" sldId="4404"/>
            <ac:grpSpMk id="133" creationId="{DEDFBB16-B15F-4CF0-9590-93656F2DAE7E}"/>
          </ac:grpSpMkLst>
        </pc:grpChg>
        <pc:grpChg chg="add mod">
          <ac:chgData name="Vik Verma" userId="658c3117-1579-4ad0-bc27-385c6f2212e9" providerId="ADAL" clId="{4AA9F49B-C7C8-44CD-81EE-50B2F8346471}" dt="2020-11-05T01:26:56.143" v="1332" actId="1037"/>
          <ac:grpSpMkLst>
            <pc:docMk/>
            <pc:sldMk cId="3277751935" sldId="4404"/>
            <ac:grpSpMk id="136" creationId="{8380B11B-816B-4021-8F2F-B96902785C3D}"/>
          </ac:grpSpMkLst>
        </pc:grpChg>
        <pc:grpChg chg="mod">
          <ac:chgData name="Vik Verma" userId="658c3117-1579-4ad0-bc27-385c6f2212e9" providerId="ADAL" clId="{4AA9F49B-C7C8-44CD-81EE-50B2F8346471}" dt="2020-11-04T23:28:30.809" v="875" actId="1037"/>
          <ac:grpSpMkLst>
            <pc:docMk/>
            <pc:sldMk cId="3277751935" sldId="4404"/>
            <ac:grpSpMk id="153" creationId="{8B798684-4D75-48EC-B65C-FB0C3D97A6CC}"/>
          </ac:grpSpMkLst>
        </pc:grpChg>
        <pc:grpChg chg="del mod">
          <ac:chgData name="Vik Verma" userId="658c3117-1579-4ad0-bc27-385c6f2212e9" providerId="ADAL" clId="{4AA9F49B-C7C8-44CD-81EE-50B2F8346471}" dt="2020-11-04T04:22:44.463" v="421" actId="165"/>
          <ac:grpSpMkLst>
            <pc:docMk/>
            <pc:sldMk cId="3277751935" sldId="4404"/>
            <ac:grpSpMk id="232" creationId="{3D762AD2-B495-40CE-B77D-A299ED04F5FE}"/>
          </ac:grpSpMkLst>
        </pc:grpChg>
        <pc:grpChg chg="mod">
          <ac:chgData name="Vik Verma" userId="658c3117-1579-4ad0-bc27-385c6f2212e9" providerId="ADAL" clId="{4AA9F49B-C7C8-44CD-81EE-50B2F8346471}" dt="2020-11-04T23:28:30.809" v="875" actId="1037"/>
          <ac:grpSpMkLst>
            <pc:docMk/>
            <pc:sldMk cId="3277751935" sldId="4404"/>
            <ac:grpSpMk id="244" creationId="{3405B0BA-F72A-4FEA-BE96-8DF2F0B04A8C}"/>
          </ac:grpSpMkLst>
        </pc:grpChg>
        <pc:grpChg chg="mod">
          <ac:chgData name="Vik Verma" userId="658c3117-1579-4ad0-bc27-385c6f2212e9" providerId="ADAL" clId="{4AA9F49B-C7C8-44CD-81EE-50B2F8346471}" dt="2020-11-05T01:21:36.905" v="1143" actId="1036"/>
          <ac:grpSpMkLst>
            <pc:docMk/>
            <pc:sldMk cId="3277751935" sldId="4404"/>
            <ac:grpSpMk id="245" creationId="{588603A6-D865-45BB-B3D4-7861AB8935E7}"/>
          </ac:grpSpMkLst>
        </pc:grpChg>
        <pc:grpChg chg="mod">
          <ac:chgData name="Vik Verma" userId="658c3117-1579-4ad0-bc27-385c6f2212e9" providerId="ADAL" clId="{4AA9F49B-C7C8-44CD-81EE-50B2F8346471}" dt="2020-11-05T01:21:36.905" v="1143" actId="1036"/>
          <ac:grpSpMkLst>
            <pc:docMk/>
            <pc:sldMk cId="3277751935" sldId="4404"/>
            <ac:grpSpMk id="275" creationId="{0B0E4B9D-9DB7-4079-9982-A28918C044FE}"/>
          </ac:grpSpMkLst>
        </pc:grpChg>
        <pc:grpChg chg="mod">
          <ac:chgData name="Vik Verma" userId="658c3117-1579-4ad0-bc27-385c6f2212e9" providerId="ADAL" clId="{4AA9F49B-C7C8-44CD-81EE-50B2F8346471}" dt="2020-11-04T23:28:30.809" v="875" actId="1037"/>
          <ac:grpSpMkLst>
            <pc:docMk/>
            <pc:sldMk cId="3277751935" sldId="4404"/>
            <ac:grpSpMk id="276" creationId="{98639354-747F-4395-AFD8-C76664682EE2}"/>
          </ac:grpSpMkLst>
        </pc:grpChg>
        <pc:grpChg chg="mod">
          <ac:chgData name="Vik Verma" userId="658c3117-1579-4ad0-bc27-385c6f2212e9" providerId="ADAL" clId="{4AA9F49B-C7C8-44CD-81EE-50B2F8346471}" dt="2020-11-04T23:28:30.809" v="875" actId="1037"/>
          <ac:grpSpMkLst>
            <pc:docMk/>
            <pc:sldMk cId="3277751935" sldId="4404"/>
            <ac:grpSpMk id="277" creationId="{BA35B25C-71CE-4580-AD70-3E13B391DEC7}"/>
          </ac:grpSpMkLst>
        </pc:grpChg>
        <pc:graphicFrameChg chg="add del mod modGraphic">
          <ac:chgData name="Vik Verma" userId="658c3117-1579-4ad0-bc27-385c6f2212e9" providerId="ADAL" clId="{4AA9F49B-C7C8-44CD-81EE-50B2F8346471}" dt="2020-11-04T23:35:55.308" v="927" actId="478"/>
          <ac:graphicFrameMkLst>
            <pc:docMk/>
            <pc:sldMk cId="3277751935" sldId="4404"/>
            <ac:graphicFrameMk id="57" creationId="{6394E286-E6F8-42A7-B5AE-C5FA3FA946D2}"/>
          </ac:graphicFrameMkLst>
        </pc:graphicFrameChg>
        <pc:graphicFrameChg chg="add del mod ord modGraphic">
          <ac:chgData name="Vik Verma" userId="658c3117-1579-4ad0-bc27-385c6f2212e9" providerId="ADAL" clId="{4AA9F49B-C7C8-44CD-81EE-50B2F8346471}" dt="2020-11-04T04:55:13.442" v="770" actId="478"/>
          <ac:graphicFrameMkLst>
            <pc:docMk/>
            <pc:sldMk cId="3277751935" sldId="4404"/>
            <ac:graphicFrameMk id="57" creationId="{AD7A1253-D9A0-4733-8355-8CB8F2C2D94E}"/>
          </ac:graphicFrameMkLst>
        </pc:graphicFrameChg>
        <pc:picChg chg="mod">
          <ac:chgData name="Vik Verma" userId="658c3117-1579-4ad0-bc27-385c6f2212e9" providerId="ADAL" clId="{4AA9F49B-C7C8-44CD-81EE-50B2F8346471}" dt="2020-11-04T23:28:30.809" v="875" actId="1037"/>
          <ac:picMkLst>
            <pc:docMk/>
            <pc:sldMk cId="3277751935" sldId="4404"/>
            <ac:picMk id="6" creationId="{C0EDE014-A73F-4976-A091-C3C9E947BCB3}"/>
          </ac:picMkLst>
        </pc:picChg>
        <pc:picChg chg="mod">
          <ac:chgData name="Vik Verma" userId="658c3117-1579-4ad0-bc27-385c6f2212e9" providerId="ADAL" clId="{4AA9F49B-C7C8-44CD-81EE-50B2F8346471}" dt="2020-11-04T23:28:30.809" v="875" actId="1037"/>
          <ac:picMkLst>
            <pc:docMk/>
            <pc:sldMk cId="3277751935" sldId="4404"/>
            <ac:picMk id="10" creationId="{6240F243-AB87-4EB7-95B2-BC9155791A30}"/>
          </ac:picMkLst>
        </pc:picChg>
        <pc:picChg chg="add del mod">
          <ac:chgData name="Vik Verma" userId="658c3117-1579-4ad0-bc27-385c6f2212e9" providerId="ADAL" clId="{4AA9F49B-C7C8-44CD-81EE-50B2F8346471}" dt="2020-11-04T23:26:44.119" v="853" actId="478"/>
          <ac:picMkLst>
            <pc:docMk/>
            <pc:sldMk cId="3277751935" sldId="4404"/>
            <ac:picMk id="14" creationId="{9CB209F9-FDAA-48DB-9AF1-317E0709DED6}"/>
          </ac:picMkLst>
        </pc:picChg>
        <pc:picChg chg="add del mod">
          <ac:chgData name="Vik Verma" userId="658c3117-1579-4ad0-bc27-385c6f2212e9" providerId="ADAL" clId="{4AA9F49B-C7C8-44CD-81EE-50B2F8346471}" dt="2020-11-04T23:24:32.290" v="845" actId="478"/>
          <ac:picMkLst>
            <pc:docMk/>
            <pc:sldMk cId="3277751935" sldId="4404"/>
            <ac:picMk id="59" creationId="{CFC454A6-40A8-425F-9AC0-7F78CF24AA68}"/>
          </ac:picMkLst>
        </pc:picChg>
        <pc:picChg chg="del mod topLvl">
          <ac:chgData name="Vik Verma" userId="658c3117-1579-4ad0-bc27-385c6f2212e9" providerId="ADAL" clId="{4AA9F49B-C7C8-44CD-81EE-50B2F8346471}" dt="2020-11-04T04:25:54.586" v="482" actId="478"/>
          <ac:picMkLst>
            <pc:docMk/>
            <pc:sldMk cId="3277751935" sldId="4404"/>
            <ac:picMk id="107" creationId="{A0E2ECE0-C86C-44F8-BEB2-B7BA15B47B26}"/>
          </ac:picMkLst>
        </pc:picChg>
        <pc:picChg chg="mod topLvl">
          <ac:chgData name="Vik Verma" userId="658c3117-1579-4ad0-bc27-385c6f2212e9" providerId="ADAL" clId="{4AA9F49B-C7C8-44CD-81EE-50B2F8346471}" dt="2020-11-04T23:28:30.809" v="875" actId="1037"/>
          <ac:picMkLst>
            <pc:docMk/>
            <pc:sldMk cId="3277751935" sldId="4404"/>
            <ac:picMk id="145" creationId="{9AC30009-5C30-452D-90CD-6213593652FE}"/>
          </ac:picMkLst>
        </pc:picChg>
        <pc:picChg chg="mod topLvl">
          <ac:chgData name="Vik Verma" userId="658c3117-1579-4ad0-bc27-385c6f2212e9" providerId="ADAL" clId="{4AA9F49B-C7C8-44CD-81EE-50B2F8346471}" dt="2020-11-04T23:28:30.809" v="875" actId="1037"/>
          <ac:picMkLst>
            <pc:docMk/>
            <pc:sldMk cId="3277751935" sldId="4404"/>
            <ac:picMk id="231" creationId="{7C417854-E992-4237-8E28-1BE260C5C79A}"/>
          </ac:picMkLst>
        </pc:picChg>
        <pc:picChg chg="mod">
          <ac:chgData name="Vik Verma" userId="658c3117-1579-4ad0-bc27-385c6f2212e9" providerId="ADAL" clId="{4AA9F49B-C7C8-44CD-81EE-50B2F8346471}" dt="2020-11-04T23:28:30.809" v="875" actId="1037"/>
          <ac:picMkLst>
            <pc:docMk/>
            <pc:sldMk cId="3277751935" sldId="4404"/>
            <ac:picMk id="241" creationId="{3369BE72-0701-4258-9616-C1BC1C53AB4F}"/>
          </ac:picMkLst>
        </pc:picChg>
        <pc:picChg chg="del mod">
          <ac:chgData name="Vik Verma" userId="658c3117-1579-4ad0-bc27-385c6f2212e9" providerId="ADAL" clId="{4AA9F49B-C7C8-44CD-81EE-50B2F8346471}" dt="2020-11-05T01:19:06.184" v="1088" actId="478"/>
          <ac:picMkLst>
            <pc:docMk/>
            <pc:sldMk cId="3277751935" sldId="4404"/>
            <ac:picMk id="272" creationId="{3D2DE8E2-1B28-4C2E-ADCE-084A7F98B6B5}"/>
          </ac:picMkLst>
        </pc:picChg>
        <pc:cxnChg chg="mod">
          <ac:chgData name="Vik Verma" userId="658c3117-1579-4ad0-bc27-385c6f2212e9" providerId="ADAL" clId="{4AA9F49B-C7C8-44CD-81EE-50B2F8346471}" dt="2020-11-04T23:28:30.809" v="875" actId="1037"/>
          <ac:cxnSpMkLst>
            <pc:docMk/>
            <pc:sldMk cId="3277751935" sldId="4404"/>
            <ac:cxnSpMk id="40" creationId="{6D34EFBA-05D1-4889-A2B5-287CC520C059}"/>
          </ac:cxnSpMkLst>
        </pc:cxnChg>
        <pc:cxnChg chg="mod">
          <ac:chgData name="Vik Verma" userId="658c3117-1579-4ad0-bc27-385c6f2212e9" providerId="ADAL" clId="{4AA9F49B-C7C8-44CD-81EE-50B2F8346471}" dt="2020-11-04T23:28:30.809" v="875" actId="1037"/>
          <ac:cxnSpMkLst>
            <pc:docMk/>
            <pc:sldMk cId="3277751935" sldId="4404"/>
            <ac:cxnSpMk id="47" creationId="{D177189E-3109-4D81-9399-5E0A72FB88FA}"/>
          </ac:cxnSpMkLst>
        </pc:cxnChg>
        <pc:cxnChg chg="add mod">
          <ac:chgData name="Vik Verma" userId="658c3117-1579-4ad0-bc27-385c6f2212e9" providerId="ADAL" clId="{4AA9F49B-C7C8-44CD-81EE-50B2F8346471}" dt="2020-11-05T01:26:04.382" v="1271" actId="164"/>
          <ac:cxnSpMkLst>
            <pc:docMk/>
            <pc:sldMk cId="3277751935" sldId="4404"/>
            <ac:cxnSpMk id="73" creationId="{DA83FFA5-B1A0-48CE-B811-CA347266D635}"/>
          </ac:cxnSpMkLst>
        </pc:cxnChg>
        <pc:cxnChg chg="add mod">
          <ac:chgData name="Vik Verma" userId="658c3117-1579-4ad0-bc27-385c6f2212e9" providerId="ADAL" clId="{4AA9F49B-C7C8-44CD-81EE-50B2F8346471}" dt="2020-11-05T01:23:57.901" v="1249" actId="14100"/>
          <ac:cxnSpMkLst>
            <pc:docMk/>
            <pc:sldMk cId="3277751935" sldId="4404"/>
            <ac:cxnSpMk id="120" creationId="{B542DD26-3945-4CB9-9DAA-703C5B6E2BA1}"/>
          </ac:cxnSpMkLst>
        </pc:cxnChg>
        <pc:cxnChg chg="add mod">
          <ac:chgData name="Vik Verma" userId="658c3117-1579-4ad0-bc27-385c6f2212e9" providerId="ADAL" clId="{4AA9F49B-C7C8-44CD-81EE-50B2F8346471}" dt="2020-11-05T01:26:04.382" v="1271" actId="164"/>
          <ac:cxnSpMkLst>
            <pc:docMk/>
            <pc:sldMk cId="3277751935" sldId="4404"/>
            <ac:cxnSpMk id="130" creationId="{1A687139-50EE-4977-8352-46EC0E6A6F97}"/>
          </ac:cxnSpMkLst>
        </pc:cxnChg>
        <pc:cxnChg chg="mod">
          <ac:chgData name="Vik Verma" userId="658c3117-1579-4ad0-bc27-385c6f2212e9" providerId="ADAL" clId="{4AA9F49B-C7C8-44CD-81EE-50B2F8346471}" dt="2020-11-05T01:26:30.853" v="1312"/>
          <ac:cxnSpMkLst>
            <pc:docMk/>
            <pc:sldMk cId="3277751935" sldId="4404"/>
            <ac:cxnSpMk id="134" creationId="{CB40A019-722C-409F-9BB3-67DC6AD416D1}"/>
          </ac:cxnSpMkLst>
        </pc:cxnChg>
        <pc:cxnChg chg="mod">
          <ac:chgData name="Vik Verma" userId="658c3117-1579-4ad0-bc27-385c6f2212e9" providerId="ADAL" clId="{4AA9F49B-C7C8-44CD-81EE-50B2F8346471}" dt="2020-11-05T01:26:30.853" v="1312"/>
          <ac:cxnSpMkLst>
            <pc:docMk/>
            <pc:sldMk cId="3277751935" sldId="4404"/>
            <ac:cxnSpMk id="135" creationId="{67FD3D6A-5A70-4128-BCB8-F5220866644B}"/>
          </ac:cxnSpMkLst>
        </pc:cxnChg>
        <pc:cxnChg chg="mod">
          <ac:chgData name="Vik Verma" userId="658c3117-1579-4ad0-bc27-385c6f2212e9" providerId="ADAL" clId="{4AA9F49B-C7C8-44CD-81EE-50B2F8346471}" dt="2020-11-05T01:26:38.598" v="1314"/>
          <ac:cxnSpMkLst>
            <pc:docMk/>
            <pc:sldMk cId="3277751935" sldId="4404"/>
            <ac:cxnSpMk id="137" creationId="{0BB92B83-54FA-4B4A-813D-4A160E0BC1C5}"/>
          </ac:cxnSpMkLst>
        </pc:cxnChg>
        <pc:cxnChg chg="mod">
          <ac:chgData name="Vik Verma" userId="658c3117-1579-4ad0-bc27-385c6f2212e9" providerId="ADAL" clId="{4AA9F49B-C7C8-44CD-81EE-50B2F8346471}" dt="2020-11-05T01:26:38.598" v="1314"/>
          <ac:cxnSpMkLst>
            <pc:docMk/>
            <pc:sldMk cId="3277751935" sldId="4404"/>
            <ac:cxnSpMk id="138" creationId="{D09F9173-B81C-4928-AEA5-CEE9E3D262DC}"/>
          </ac:cxnSpMkLst>
        </pc:cxnChg>
        <pc:cxnChg chg="mod">
          <ac:chgData name="Vik Verma" userId="658c3117-1579-4ad0-bc27-385c6f2212e9" providerId="ADAL" clId="{4AA9F49B-C7C8-44CD-81EE-50B2F8346471}" dt="2020-11-05T01:21:36.905" v="1143" actId="1036"/>
          <ac:cxnSpMkLst>
            <pc:docMk/>
            <pc:sldMk cId="3277751935" sldId="4404"/>
            <ac:cxnSpMk id="295" creationId="{4D69A0D0-73B5-4F24-94B8-802D733C4847}"/>
          </ac:cxnSpMkLst>
        </pc:cxnChg>
        <pc:cxnChg chg="mod">
          <ac:chgData name="Vik Verma" userId="658c3117-1579-4ad0-bc27-385c6f2212e9" providerId="ADAL" clId="{4AA9F49B-C7C8-44CD-81EE-50B2F8346471}" dt="2020-11-05T01:23:06.651" v="1220" actId="14100"/>
          <ac:cxnSpMkLst>
            <pc:docMk/>
            <pc:sldMk cId="3277751935" sldId="4404"/>
            <ac:cxnSpMk id="299" creationId="{ED87C1AC-506A-4D7F-9624-B957A2291D1F}"/>
          </ac:cxnSpMkLst>
        </pc:cxnChg>
        <pc:cxnChg chg="mod">
          <ac:chgData name="Vik Verma" userId="658c3117-1579-4ad0-bc27-385c6f2212e9" providerId="ADAL" clId="{4AA9F49B-C7C8-44CD-81EE-50B2F8346471}" dt="2020-11-05T01:22:46.334" v="1177" actId="14100"/>
          <ac:cxnSpMkLst>
            <pc:docMk/>
            <pc:sldMk cId="3277751935" sldId="4404"/>
            <ac:cxnSpMk id="301" creationId="{A4500AF9-EB1E-4035-886B-31558F9EAE10}"/>
          </ac:cxnSpMkLst>
        </pc:cxnChg>
        <pc:cxnChg chg="mod">
          <ac:chgData name="Vik Verma" userId="658c3117-1579-4ad0-bc27-385c6f2212e9" providerId="ADAL" clId="{4AA9F49B-C7C8-44CD-81EE-50B2F8346471}" dt="2020-11-05T01:22:46.334" v="1177" actId="14100"/>
          <ac:cxnSpMkLst>
            <pc:docMk/>
            <pc:sldMk cId="3277751935" sldId="4404"/>
            <ac:cxnSpMk id="304" creationId="{17A6A2D7-6D83-457D-93B2-20ABF6603667}"/>
          </ac:cxnSpMkLst>
        </pc:cxnChg>
        <pc:cxnChg chg="mod">
          <ac:chgData name="Vik Verma" userId="658c3117-1579-4ad0-bc27-385c6f2212e9" providerId="ADAL" clId="{4AA9F49B-C7C8-44CD-81EE-50B2F8346471}" dt="2020-11-05T01:22:46.334" v="1177" actId="14100"/>
          <ac:cxnSpMkLst>
            <pc:docMk/>
            <pc:sldMk cId="3277751935" sldId="4404"/>
            <ac:cxnSpMk id="307" creationId="{6CEB6340-2C10-4565-8BFD-C85494752BE9}"/>
          </ac:cxnSpMkLst>
        </pc:cxnChg>
        <pc:cxnChg chg="mod">
          <ac:chgData name="Vik Verma" userId="658c3117-1579-4ad0-bc27-385c6f2212e9" providerId="ADAL" clId="{4AA9F49B-C7C8-44CD-81EE-50B2F8346471}" dt="2020-11-05T01:23:24.557" v="1231" actId="14100"/>
          <ac:cxnSpMkLst>
            <pc:docMk/>
            <pc:sldMk cId="3277751935" sldId="4404"/>
            <ac:cxnSpMk id="310" creationId="{DF32F220-2E64-4B58-9E4B-047D4806722D}"/>
          </ac:cxnSpMkLst>
        </pc:cxnChg>
        <pc:cxnChg chg="mod">
          <ac:chgData name="Vik Verma" userId="658c3117-1579-4ad0-bc27-385c6f2212e9" providerId="ADAL" clId="{4AA9F49B-C7C8-44CD-81EE-50B2F8346471}" dt="2020-11-05T01:23:18.339" v="1223" actId="14100"/>
          <ac:cxnSpMkLst>
            <pc:docMk/>
            <pc:sldMk cId="3277751935" sldId="4404"/>
            <ac:cxnSpMk id="313" creationId="{B7A7B5B2-402A-4DA8-BA9D-4987FA56B4AD}"/>
          </ac:cxnSpMkLst>
        </pc:cxnChg>
        <pc:cxnChg chg="mod">
          <ac:chgData name="Vik Verma" userId="658c3117-1579-4ad0-bc27-385c6f2212e9" providerId="ADAL" clId="{4AA9F49B-C7C8-44CD-81EE-50B2F8346471}" dt="2020-11-05T01:23:18.339" v="1223" actId="14100"/>
          <ac:cxnSpMkLst>
            <pc:docMk/>
            <pc:sldMk cId="3277751935" sldId="4404"/>
            <ac:cxnSpMk id="316" creationId="{231AEE0A-0656-4A1A-A858-01A270C3A71B}"/>
          </ac:cxnSpMkLst>
        </pc:cxnChg>
        <pc:cxnChg chg="mod">
          <ac:chgData name="Vik Verma" userId="658c3117-1579-4ad0-bc27-385c6f2212e9" providerId="ADAL" clId="{4AA9F49B-C7C8-44CD-81EE-50B2F8346471}" dt="2020-11-05T01:22:46.334" v="1177" actId="14100"/>
          <ac:cxnSpMkLst>
            <pc:docMk/>
            <pc:sldMk cId="3277751935" sldId="4404"/>
            <ac:cxnSpMk id="318" creationId="{5C33C9FE-95AD-4BDA-BBC1-7C59422431B9}"/>
          </ac:cxnSpMkLst>
        </pc:cxnChg>
        <pc:cxnChg chg="mod">
          <ac:chgData name="Vik Verma" userId="658c3117-1579-4ad0-bc27-385c6f2212e9" providerId="ADAL" clId="{4AA9F49B-C7C8-44CD-81EE-50B2F8346471}" dt="2020-11-04T23:28:30.809" v="875" actId="1037"/>
          <ac:cxnSpMkLst>
            <pc:docMk/>
            <pc:sldMk cId="3277751935" sldId="4404"/>
            <ac:cxnSpMk id="320" creationId="{631A7518-AFC2-49CF-A99D-42E63891CB02}"/>
          </ac:cxnSpMkLst>
        </pc:cxnChg>
        <pc:cxnChg chg="mod">
          <ac:chgData name="Vik Verma" userId="658c3117-1579-4ad0-bc27-385c6f2212e9" providerId="ADAL" clId="{4AA9F49B-C7C8-44CD-81EE-50B2F8346471}" dt="2020-11-05T01:21:36.905" v="1143" actId="1036"/>
          <ac:cxnSpMkLst>
            <pc:docMk/>
            <pc:sldMk cId="3277751935" sldId="4404"/>
            <ac:cxnSpMk id="331" creationId="{E302F4CA-5F4F-44F8-9A8C-696016EE794D}"/>
          </ac:cxnSpMkLst>
        </pc:cxnChg>
      </pc:sldChg>
      <pc:sldChg chg="del">
        <pc:chgData name="Vik Verma" userId="658c3117-1579-4ad0-bc27-385c6f2212e9" providerId="ADAL" clId="{4AA9F49B-C7C8-44CD-81EE-50B2F8346471}" dt="2020-11-05T01:27:25.086" v="1335" actId="47"/>
        <pc:sldMkLst>
          <pc:docMk/>
          <pc:sldMk cId="4280686171" sldId="4405"/>
        </pc:sldMkLst>
      </pc:sldChg>
    </pc:docChg>
  </pc:docChgLst>
  <pc:docChgLst>
    <pc:chgData name="Vik Verma" userId="658c3117-1579-4ad0-bc27-385c6f2212e9" providerId="ADAL" clId="{884E122A-9493-4B9D-A888-CA64B8E3236B}"/>
    <pc:docChg chg="undo redo custSel modSld">
      <pc:chgData name="Vik Verma" userId="658c3117-1579-4ad0-bc27-385c6f2212e9" providerId="ADAL" clId="{884E122A-9493-4B9D-A888-CA64B8E3236B}" dt="2020-09-13T13:15:01.325" v="2024" actId="1076"/>
      <pc:docMkLst>
        <pc:docMk/>
      </pc:docMkLst>
      <pc:sldChg chg="addSp delSp modSp mod">
        <pc:chgData name="Vik Verma" userId="658c3117-1579-4ad0-bc27-385c6f2212e9" providerId="ADAL" clId="{884E122A-9493-4B9D-A888-CA64B8E3236B}" dt="2020-09-13T11:46:19.003" v="32" actId="478"/>
        <pc:sldMkLst>
          <pc:docMk/>
          <pc:sldMk cId="958065209" sldId="4403"/>
        </pc:sldMkLst>
        <pc:spChg chg="del">
          <ac:chgData name="Vik Verma" userId="658c3117-1579-4ad0-bc27-385c6f2212e9" providerId="ADAL" clId="{884E122A-9493-4B9D-A888-CA64B8E3236B}" dt="2020-09-13T11:45:07.482" v="27" actId="478"/>
          <ac:spMkLst>
            <pc:docMk/>
            <pc:sldMk cId="958065209" sldId="4403"/>
            <ac:spMk id="385" creationId="{2E4E5003-AE36-418E-847A-9CB05C58B530}"/>
          </ac:spMkLst>
        </pc:spChg>
        <pc:spChg chg="del">
          <ac:chgData name="Vik Verma" userId="658c3117-1579-4ad0-bc27-385c6f2212e9" providerId="ADAL" clId="{884E122A-9493-4B9D-A888-CA64B8E3236B}" dt="2020-09-13T11:45:03.865" v="26" actId="478"/>
          <ac:spMkLst>
            <pc:docMk/>
            <pc:sldMk cId="958065209" sldId="4403"/>
            <ac:spMk id="386" creationId="{D3369BB6-F6DB-4083-A449-EBF37F2C4869}"/>
          </ac:spMkLst>
        </pc:spChg>
        <pc:spChg chg="add del">
          <ac:chgData name="Vik Verma" userId="658c3117-1579-4ad0-bc27-385c6f2212e9" providerId="ADAL" clId="{884E122A-9493-4B9D-A888-CA64B8E3236B}" dt="2020-09-13T11:46:19.003" v="32" actId="478"/>
          <ac:spMkLst>
            <pc:docMk/>
            <pc:sldMk cId="958065209" sldId="4403"/>
            <ac:spMk id="387" creationId="{DCDB1B46-8A05-433D-B226-E88FF3E12018}"/>
          </ac:spMkLst>
        </pc:spChg>
        <pc:spChg chg="mod topLvl">
          <ac:chgData name="Vik Verma" userId="658c3117-1579-4ad0-bc27-385c6f2212e9" providerId="ADAL" clId="{884E122A-9493-4B9D-A888-CA64B8E3236B}" dt="2020-09-13T11:44:15.435" v="13" actId="478"/>
          <ac:spMkLst>
            <pc:docMk/>
            <pc:sldMk cId="958065209" sldId="4403"/>
            <ac:spMk id="389" creationId="{E2EF18E9-E4CB-454B-B76D-EB4392928A47}"/>
          </ac:spMkLst>
        </pc:spChg>
        <pc:spChg chg="del">
          <ac:chgData name="Vik Verma" userId="658c3117-1579-4ad0-bc27-385c6f2212e9" providerId="ADAL" clId="{884E122A-9493-4B9D-A888-CA64B8E3236B}" dt="2020-09-13T11:43:29.544" v="0" actId="478"/>
          <ac:spMkLst>
            <pc:docMk/>
            <pc:sldMk cId="958065209" sldId="4403"/>
            <ac:spMk id="390" creationId="{C4DDC3F1-8B51-460F-A4AA-74184895ADCD}"/>
          </ac:spMkLst>
        </pc:spChg>
        <pc:spChg chg="del">
          <ac:chgData name="Vik Verma" userId="658c3117-1579-4ad0-bc27-385c6f2212e9" providerId="ADAL" clId="{884E122A-9493-4B9D-A888-CA64B8E3236B}" dt="2020-09-13T11:43:32.316" v="1" actId="478"/>
          <ac:spMkLst>
            <pc:docMk/>
            <pc:sldMk cId="958065209" sldId="4403"/>
            <ac:spMk id="392" creationId="{463EA259-6009-4C93-9158-007EB9CC6612}"/>
          </ac:spMkLst>
        </pc:spChg>
        <pc:spChg chg="mod">
          <ac:chgData name="Vik Verma" userId="658c3117-1579-4ad0-bc27-385c6f2212e9" providerId="ADAL" clId="{884E122A-9493-4B9D-A888-CA64B8E3236B}" dt="2020-09-13T11:46:15.547" v="30" actId="14100"/>
          <ac:spMkLst>
            <pc:docMk/>
            <pc:sldMk cId="958065209" sldId="4403"/>
            <ac:spMk id="556" creationId="{A1ECC2D6-EEC8-457F-BB5F-0AE8F85B7DCE}"/>
          </ac:spMkLst>
        </pc:spChg>
        <pc:spChg chg="del mod topLvl">
          <ac:chgData name="Vik Verma" userId="658c3117-1579-4ad0-bc27-385c6f2212e9" providerId="ADAL" clId="{884E122A-9493-4B9D-A888-CA64B8E3236B}" dt="2020-09-13T11:44:15.435" v="13" actId="478"/>
          <ac:spMkLst>
            <pc:docMk/>
            <pc:sldMk cId="958065209" sldId="4403"/>
            <ac:spMk id="643" creationId="{B5E3FB8C-7D58-4D5A-A935-DD6AFDCBDA10}"/>
          </ac:spMkLst>
        </pc:spChg>
        <pc:grpChg chg="mod">
          <ac:chgData name="Vik Verma" userId="658c3117-1579-4ad0-bc27-385c6f2212e9" providerId="ADAL" clId="{884E122A-9493-4B9D-A888-CA64B8E3236B}" dt="2020-09-13T11:44:27.705" v="17" actId="1076"/>
          <ac:grpSpMkLst>
            <pc:docMk/>
            <pc:sldMk cId="958065209" sldId="4403"/>
            <ac:grpSpMk id="25" creationId="{1D2B6E65-2C6E-47A4-86EA-BE343E742049}"/>
          </ac:grpSpMkLst>
        </pc:grpChg>
        <pc:grpChg chg="del">
          <ac:chgData name="Vik Verma" userId="658c3117-1579-4ad0-bc27-385c6f2212e9" providerId="ADAL" clId="{884E122A-9493-4B9D-A888-CA64B8E3236B}" dt="2020-09-13T11:44:15.435" v="13" actId="478"/>
          <ac:grpSpMkLst>
            <pc:docMk/>
            <pc:sldMk cId="958065209" sldId="4403"/>
            <ac:grpSpMk id="30" creationId="{E07C47F9-ACEC-4D51-A8A2-A450AC7DFD0D}"/>
          </ac:grpSpMkLst>
        </pc:grpChg>
        <pc:grpChg chg="mod">
          <ac:chgData name="Vik Verma" userId="658c3117-1579-4ad0-bc27-385c6f2212e9" providerId="ADAL" clId="{884E122A-9493-4B9D-A888-CA64B8E3236B}" dt="2020-09-13T11:44:46.122" v="23" actId="1076"/>
          <ac:grpSpMkLst>
            <pc:docMk/>
            <pc:sldMk cId="958065209" sldId="4403"/>
            <ac:grpSpMk id="377" creationId="{3DC9AED3-2E71-4895-AC21-1264D153E87D}"/>
          </ac:grpSpMkLst>
        </pc:grpChg>
        <pc:grpChg chg="del">
          <ac:chgData name="Vik Verma" userId="658c3117-1579-4ad0-bc27-385c6f2212e9" providerId="ADAL" clId="{884E122A-9493-4B9D-A888-CA64B8E3236B}" dt="2020-09-13T11:45:07.482" v="27" actId="478"/>
          <ac:grpSpMkLst>
            <pc:docMk/>
            <pc:sldMk cId="958065209" sldId="4403"/>
            <ac:grpSpMk id="384" creationId="{B592071A-C5F0-4DC4-B32F-5EB42925D1C8}"/>
          </ac:grpSpMkLst>
        </pc:grpChg>
        <pc:picChg chg="mod">
          <ac:chgData name="Vik Verma" userId="658c3117-1579-4ad0-bc27-385c6f2212e9" providerId="ADAL" clId="{884E122A-9493-4B9D-A888-CA64B8E3236B}" dt="2020-09-13T11:44:59.532" v="25" actId="1076"/>
          <ac:picMkLst>
            <pc:docMk/>
            <pc:sldMk cId="958065209" sldId="4403"/>
            <ac:picMk id="382" creationId="{56C7513C-9870-48F8-9A02-0D08D27B1A54}"/>
          </ac:picMkLst>
        </pc:picChg>
        <pc:picChg chg="mod">
          <ac:chgData name="Vik Verma" userId="658c3117-1579-4ad0-bc27-385c6f2212e9" providerId="ADAL" clId="{884E122A-9493-4B9D-A888-CA64B8E3236B}" dt="2020-09-13T11:44:52.660" v="24" actId="1076"/>
          <ac:picMkLst>
            <pc:docMk/>
            <pc:sldMk cId="958065209" sldId="4403"/>
            <ac:picMk id="383" creationId="{51E4A419-4928-4271-91BB-E3202E610E31}"/>
          </ac:picMkLst>
        </pc:picChg>
        <pc:cxnChg chg="mod">
          <ac:chgData name="Vik Verma" userId="658c3117-1579-4ad0-bc27-385c6f2212e9" providerId="ADAL" clId="{884E122A-9493-4B9D-A888-CA64B8E3236B}" dt="2020-09-13T11:44:10.467" v="12" actId="20577"/>
          <ac:cxnSpMkLst>
            <pc:docMk/>
            <pc:sldMk cId="958065209" sldId="4403"/>
            <ac:cxnSpMk id="311" creationId="{1894E009-10C6-491B-98D8-5BDCEEB11732}"/>
          </ac:cxnSpMkLst>
        </pc:cxnChg>
        <pc:cxnChg chg="del">
          <ac:chgData name="Vik Verma" userId="658c3117-1579-4ad0-bc27-385c6f2212e9" providerId="ADAL" clId="{884E122A-9493-4B9D-A888-CA64B8E3236B}" dt="2020-09-13T11:43:52.136" v="2" actId="478"/>
          <ac:cxnSpMkLst>
            <pc:docMk/>
            <pc:sldMk cId="958065209" sldId="4403"/>
            <ac:cxnSpMk id="487" creationId="{8E4028AD-7AE7-4FA5-9E61-2778447C655F}"/>
          </ac:cxnSpMkLst>
        </pc:cxnChg>
      </pc:sldChg>
      <pc:sldChg chg="addSp delSp modSp mod delAnim modAnim">
        <pc:chgData name="Vik Verma" userId="658c3117-1579-4ad0-bc27-385c6f2212e9" providerId="ADAL" clId="{884E122A-9493-4B9D-A888-CA64B8E3236B}" dt="2020-09-13T13:15:01.325" v="2024" actId="1076"/>
        <pc:sldMkLst>
          <pc:docMk/>
          <pc:sldMk cId="3277751935" sldId="4404"/>
        </pc:sldMkLst>
        <pc:spChg chg="del">
          <ac:chgData name="Vik Verma" userId="658c3117-1579-4ad0-bc27-385c6f2212e9" providerId="ADAL" clId="{884E122A-9493-4B9D-A888-CA64B8E3236B}" dt="2020-09-13T12:46:00.946" v="999" actId="478"/>
          <ac:spMkLst>
            <pc:docMk/>
            <pc:sldMk cId="3277751935" sldId="4404"/>
            <ac:spMk id="2" creationId="{6FFC6217-315E-4B39-A7F8-0A572D169019}"/>
          </ac:spMkLst>
        </pc:spChg>
        <pc:spChg chg="del">
          <ac:chgData name="Vik Verma" userId="658c3117-1579-4ad0-bc27-385c6f2212e9" providerId="ADAL" clId="{884E122A-9493-4B9D-A888-CA64B8E3236B}" dt="2020-09-13T12:46:00.946" v="999" actId="478"/>
          <ac:spMkLst>
            <pc:docMk/>
            <pc:sldMk cId="3277751935" sldId="4404"/>
            <ac:spMk id="3" creationId="{B64124A4-F937-4240-9347-0892AA7C232B}"/>
          </ac:spMkLst>
        </pc:spChg>
        <pc:spChg chg="mod topLvl">
          <ac:chgData name="Vik Verma" userId="658c3117-1579-4ad0-bc27-385c6f2212e9" providerId="ADAL" clId="{884E122A-9493-4B9D-A888-CA64B8E3236B}" dt="2020-09-13T13:12:56.158" v="1959" actId="1036"/>
          <ac:spMkLst>
            <pc:docMk/>
            <pc:sldMk cId="3277751935" sldId="4404"/>
            <ac:spMk id="5" creationId="{8B80A270-A039-4EA1-9EB4-B3857D93BFF8}"/>
          </ac:spMkLst>
        </pc:spChg>
        <pc:spChg chg="add mod ord">
          <ac:chgData name="Vik Verma" userId="658c3117-1579-4ad0-bc27-385c6f2212e9" providerId="ADAL" clId="{884E122A-9493-4B9D-A888-CA64B8E3236B}" dt="2020-09-13T13:12:56.158" v="1959" actId="1036"/>
          <ac:spMkLst>
            <pc:docMk/>
            <pc:sldMk cId="3277751935" sldId="4404"/>
            <ac:spMk id="8" creationId="{0716D359-5FD5-41BB-BA63-C991E3061632}"/>
          </ac:spMkLst>
        </pc:spChg>
        <pc:spChg chg="add mod">
          <ac:chgData name="Vik Verma" userId="658c3117-1579-4ad0-bc27-385c6f2212e9" providerId="ADAL" clId="{884E122A-9493-4B9D-A888-CA64B8E3236B}" dt="2020-09-13T13:12:56.158" v="1959" actId="1036"/>
          <ac:spMkLst>
            <pc:docMk/>
            <pc:sldMk cId="3277751935" sldId="4404"/>
            <ac:spMk id="9" creationId="{934D27E6-C80A-4F7E-882B-394C9C4A9824}"/>
          </ac:spMkLst>
        </pc:spChg>
        <pc:spChg chg="add mod ord">
          <ac:chgData name="Vik Verma" userId="658c3117-1579-4ad0-bc27-385c6f2212e9" providerId="ADAL" clId="{884E122A-9493-4B9D-A888-CA64B8E3236B}" dt="2020-09-13T13:12:56.158" v="1959" actId="1036"/>
          <ac:spMkLst>
            <pc:docMk/>
            <pc:sldMk cId="3277751935" sldId="4404"/>
            <ac:spMk id="11" creationId="{30529083-4E8C-4E06-882D-38A385AA374D}"/>
          </ac:spMkLst>
        </pc:spChg>
        <pc:spChg chg="add mod">
          <ac:chgData name="Vik Verma" userId="658c3117-1579-4ad0-bc27-385c6f2212e9" providerId="ADAL" clId="{884E122A-9493-4B9D-A888-CA64B8E3236B}" dt="2020-09-13T13:12:56.158" v="1959" actId="1036"/>
          <ac:spMkLst>
            <pc:docMk/>
            <pc:sldMk cId="3277751935" sldId="4404"/>
            <ac:spMk id="12" creationId="{27E8A7F9-A06D-4ECF-B682-06D36161A0A5}"/>
          </ac:spMkLst>
        </pc:spChg>
        <pc:spChg chg="add mod">
          <ac:chgData name="Vik Verma" userId="658c3117-1579-4ad0-bc27-385c6f2212e9" providerId="ADAL" clId="{884E122A-9493-4B9D-A888-CA64B8E3236B}" dt="2020-09-13T12:50:01.994" v="1036" actId="1036"/>
          <ac:spMkLst>
            <pc:docMk/>
            <pc:sldMk cId="3277751935" sldId="4404"/>
            <ac:spMk id="14" creationId="{BF176777-FAC5-4358-B195-2494C8D67C90}"/>
          </ac:spMkLst>
        </pc:spChg>
        <pc:spChg chg="add mod">
          <ac:chgData name="Vik Verma" userId="658c3117-1579-4ad0-bc27-385c6f2212e9" providerId="ADAL" clId="{884E122A-9493-4B9D-A888-CA64B8E3236B}" dt="2020-09-13T12:50:01.994" v="1036" actId="1036"/>
          <ac:spMkLst>
            <pc:docMk/>
            <pc:sldMk cId="3277751935" sldId="4404"/>
            <ac:spMk id="17" creationId="{9BABE4F3-0CD0-4D5D-BBAB-A9B05386521B}"/>
          </ac:spMkLst>
        </pc:spChg>
        <pc:spChg chg="add mod">
          <ac:chgData name="Vik Verma" userId="658c3117-1579-4ad0-bc27-385c6f2212e9" providerId="ADAL" clId="{884E122A-9493-4B9D-A888-CA64B8E3236B}" dt="2020-09-13T13:12:56.158" v="1959" actId="1036"/>
          <ac:spMkLst>
            <pc:docMk/>
            <pc:sldMk cId="3277751935" sldId="4404"/>
            <ac:spMk id="20" creationId="{B7CA7F90-3D43-4C2C-86A5-EC130FB49BBD}"/>
          </ac:spMkLst>
        </pc:spChg>
        <pc:spChg chg="mod">
          <ac:chgData name="Vik Verma" userId="658c3117-1579-4ad0-bc27-385c6f2212e9" providerId="ADAL" clId="{884E122A-9493-4B9D-A888-CA64B8E3236B}" dt="2020-09-13T13:12:56.158" v="1959" actId="1036"/>
          <ac:spMkLst>
            <pc:docMk/>
            <pc:sldMk cId="3277751935" sldId="4404"/>
            <ac:spMk id="22" creationId="{192D5E1C-12A1-403D-9C86-0FE0BAAFD591}"/>
          </ac:spMkLst>
        </pc:spChg>
        <pc:spChg chg="mod">
          <ac:chgData name="Vik Verma" userId="658c3117-1579-4ad0-bc27-385c6f2212e9" providerId="ADAL" clId="{884E122A-9493-4B9D-A888-CA64B8E3236B}" dt="2020-09-13T13:12:56.158" v="1959" actId="1036"/>
          <ac:spMkLst>
            <pc:docMk/>
            <pc:sldMk cId="3277751935" sldId="4404"/>
            <ac:spMk id="24" creationId="{69B94E66-09AF-4545-ABE8-861D3A4CD291}"/>
          </ac:spMkLst>
        </pc:spChg>
        <pc:spChg chg="mod">
          <ac:chgData name="Vik Verma" userId="658c3117-1579-4ad0-bc27-385c6f2212e9" providerId="ADAL" clId="{884E122A-9493-4B9D-A888-CA64B8E3236B}" dt="2020-09-13T13:12:56.158" v="1959" actId="1036"/>
          <ac:spMkLst>
            <pc:docMk/>
            <pc:sldMk cId="3277751935" sldId="4404"/>
            <ac:spMk id="26" creationId="{94DF68D9-14DF-4A66-8E33-2B4734A83C17}"/>
          </ac:spMkLst>
        </pc:spChg>
        <pc:spChg chg="mod">
          <ac:chgData name="Vik Verma" userId="658c3117-1579-4ad0-bc27-385c6f2212e9" providerId="ADAL" clId="{884E122A-9493-4B9D-A888-CA64B8E3236B}" dt="2020-09-13T13:12:56.158" v="1959" actId="1036"/>
          <ac:spMkLst>
            <pc:docMk/>
            <pc:sldMk cId="3277751935" sldId="4404"/>
            <ac:spMk id="27" creationId="{05D62B3C-4B61-49EB-A916-A5C6D6F16A16}"/>
          </ac:spMkLst>
        </pc:spChg>
        <pc:spChg chg="mod">
          <ac:chgData name="Vik Verma" userId="658c3117-1579-4ad0-bc27-385c6f2212e9" providerId="ADAL" clId="{884E122A-9493-4B9D-A888-CA64B8E3236B}" dt="2020-09-13T13:12:56.158" v="1959" actId="1036"/>
          <ac:spMkLst>
            <pc:docMk/>
            <pc:sldMk cId="3277751935" sldId="4404"/>
            <ac:spMk id="29" creationId="{7CBA6AB2-B777-465C-9A2F-D886D73280F5}"/>
          </ac:spMkLst>
        </pc:spChg>
        <pc:spChg chg="mod">
          <ac:chgData name="Vik Verma" userId="658c3117-1579-4ad0-bc27-385c6f2212e9" providerId="ADAL" clId="{884E122A-9493-4B9D-A888-CA64B8E3236B}" dt="2020-09-13T13:12:56.158" v="1959" actId="1036"/>
          <ac:spMkLst>
            <pc:docMk/>
            <pc:sldMk cId="3277751935" sldId="4404"/>
            <ac:spMk id="30" creationId="{87B979F3-D7D2-4FDE-8E2A-9E6C571BD34D}"/>
          </ac:spMkLst>
        </pc:spChg>
        <pc:spChg chg="mod">
          <ac:chgData name="Vik Verma" userId="658c3117-1579-4ad0-bc27-385c6f2212e9" providerId="ADAL" clId="{884E122A-9493-4B9D-A888-CA64B8E3236B}" dt="2020-09-13T13:12:56.158" v="1959" actId="1036"/>
          <ac:spMkLst>
            <pc:docMk/>
            <pc:sldMk cId="3277751935" sldId="4404"/>
            <ac:spMk id="32" creationId="{C99DC447-BF4C-47C5-B44F-5C4989A3A38C}"/>
          </ac:spMkLst>
        </pc:spChg>
        <pc:spChg chg="mod">
          <ac:chgData name="Vik Verma" userId="658c3117-1579-4ad0-bc27-385c6f2212e9" providerId="ADAL" clId="{884E122A-9493-4B9D-A888-CA64B8E3236B}" dt="2020-09-13T13:12:56.158" v="1959" actId="1036"/>
          <ac:spMkLst>
            <pc:docMk/>
            <pc:sldMk cId="3277751935" sldId="4404"/>
            <ac:spMk id="33" creationId="{34311B24-4F40-42F6-8C7F-013CDBE39F28}"/>
          </ac:spMkLst>
        </pc:spChg>
        <pc:spChg chg="mod">
          <ac:chgData name="Vik Verma" userId="658c3117-1579-4ad0-bc27-385c6f2212e9" providerId="ADAL" clId="{884E122A-9493-4B9D-A888-CA64B8E3236B}" dt="2020-09-13T13:12:56.158" v="1959" actId="1036"/>
          <ac:spMkLst>
            <pc:docMk/>
            <pc:sldMk cId="3277751935" sldId="4404"/>
            <ac:spMk id="34" creationId="{49D4F9A6-CF99-4366-A4CC-FD7A863E5B47}"/>
          </ac:spMkLst>
        </pc:spChg>
        <pc:spChg chg="mod">
          <ac:chgData name="Vik Verma" userId="658c3117-1579-4ad0-bc27-385c6f2212e9" providerId="ADAL" clId="{884E122A-9493-4B9D-A888-CA64B8E3236B}" dt="2020-09-13T13:12:56.158" v="1959" actId="1036"/>
          <ac:spMkLst>
            <pc:docMk/>
            <pc:sldMk cId="3277751935" sldId="4404"/>
            <ac:spMk id="35" creationId="{98F3D24A-CD1F-49B5-ABF0-E8C9FC5086F2}"/>
          </ac:spMkLst>
        </pc:spChg>
        <pc:spChg chg="mod">
          <ac:chgData name="Vik Verma" userId="658c3117-1579-4ad0-bc27-385c6f2212e9" providerId="ADAL" clId="{884E122A-9493-4B9D-A888-CA64B8E3236B}" dt="2020-09-13T13:12:56.158" v="1959" actId="1036"/>
          <ac:spMkLst>
            <pc:docMk/>
            <pc:sldMk cId="3277751935" sldId="4404"/>
            <ac:spMk id="37" creationId="{780EF7ED-ADCD-445C-A6A3-58060FAB8F9A}"/>
          </ac:spMkLst>
        </pc:spChg>
        <pc:spChg chg="mod">
          <ac:chgData name="Vik Verma" userId="658c3117-1579-4ad0-bc27-385c6f2212e9" providerId="ADAL" clId="{884E122A-9493-4B9D-A888-CA64B8E3236B}" dt="2020-09-13T13:12:56.158" v="1959" actId="1036"/>
          <ac:spMkLst>
            <pc:docMk/>
            <pc:sldMk cId="3277751935" sldId="4404"/>
            <ac:spMk id="39" creationId="{C77B51ED-A286-4D4B-8235-C0C3FA7DFA3D}"/>
          </ac:spMkLst>
        </pc:spChg>
        <pc:spChg chg="mod">
          <ac:chgData name="Vik Verma" userId="658c3117-1579-4ad0-bc27-385c6f2212e9" providerId="ADAL" clId="{884E122A-9493-4B9D-A888-CA64B8E3236B}" dt="2020-09-13T13:12:56.158" v="1959" actId="1036"/>
          <ac:spMkLst>
            <pc:docMk/>
            <pc:sldMk cId="3277751935" sldId="4404"/>
            <ac:spMk id="41" creationId="{827ACD9A-6D03-4ABA-B4D7-D3799BE0F9A4}"/>
          </ac:spMkLst>
        </pc:spChg>
        <pc:spChg chg="mod">
          <ac:chgData name="Vik Verma" userId="658c3117-1579-4ad0-bc27-385c6f2212e9" providerId="ADAL" clId="{884E122A-9493-4B9D-A888-CA64B8E3236B}" dt="2020-09-13T13:12:56.158" v="1959" actId="1036"/>
          <ac:spMkLst>
            <pc:docMk/>
            <pc:sldMk cId="3277751935" sldId="4404"/>
            <ac:spMk id="42" creationId="{E678402B-7169-4E69-BDEA-EF3A27132CA7}"/>
          </ac:spMkLst>
        </pc:spChg>
        <pc:spChg chg="mod">
          <ac:chgData name="Vik Verma" userId="658c3117-1579-4ad0-bc27-385c6f2212e9" providerId="ADAL" clId="{884E122A-9493-4B9D-A888-CA64B8E3236B}" dt="2020-09-13T13:12:56.158" v="1959" actId="1036"/>
          <ac:spMkLst>
            <pc:docMk/>
            <pc:sldMk cId="3277751935" sldId="4404"/>
            <ac:spMk id="44" creationId="{76A01F70-4DFA-4CAD-95DB-C60280438046}"/>
          </ac:spMkLst>
        </pc:spChg>
        <pc:spChg chg="mod">
          <ac:chgData name="Vik Verma" userId="658c3117-1579-4ad0-bc27-385c6f2212e9" providerId="ADAL" clId="{884E122A-9493-4B9D-A888-CA64B8E3236B}" dt="2020-09-13T13:12:56.158" v="1959" actId="1036"/>
          <ac:spMkLst>
            <pc:docMk/>
            <pc:sldMk cId="3277751935" sldId="4404"/>
            <ac:spMk id="46" creationId="{D7DC3F42-FD3B-4703-B402-CD2EB94883CB}"/>
          </ac:spMkLst>
        </pc:spChg>
        <pc:spChg chg="mod">
          <ac:chgData name="Vik Verma" userId="658c3117-1579-4ad0-bc27-385c6f2212e9" providerId="ADAL" clId="{884E122A-9493-4B9D-A888-CA64B8E3236B}" dt="2020-09-13T13:12:56.158" v="1959" actId="1036"/>
          <ac:spMkLst>
            <pc:docMk/>
            <pc:sldMk cId="3277751935" sldId="4404"/>
            <ac:spMk id="48" creationId="{223BFE42-4440-4AA2-B236-C87AD1F38586}"/>
          </ac:spMkLst>
        </pc:spChg>
        <pc:spChg chg="mod">
          <ac:chgData name="Vik Verma" userId="658c3117-1579-4ad0-bc27-385c6f2212e9" providerId="ADAL" clId="{884E122A-9493-4B9D-A888-CA64B8E3236B}" dt="2020-09-13T13:12:56.158" v="1959" actId="1036"/>
          <ac:spMkLst>
            <pc:docMk/>
            <pc:sldMk cId="3277751935" sldId="4404"/>
            <ac:spMk id="49" creationId="{FE938934-5EF6-4ED2-A02B-0429637361CF}"/>
          </ac:spMkLst>
        </pc:spChg>
        <pc:spChg chg="mod">
          <ac:chgData name="Vik Verma" userId="658c3117-1579-4ad0-bc27-385c6f2212e9" providerId="ADAL" clId="{884E122A-9493-4B9D-A888-CA64B8E3236B}" dt="2020-09-13T13:12:56.158" v="1959" actId="1036"/>
          <ac:spMkLst>
            <pc:docMk/>
            <pc:sldMk cId="3277751935" sldId="4404"/>
            <ac:spMk id="50" creationId="{F4B9D426-E94F-4D0F-BE30-698BB1FA5464}"/>
          </ac:spMkLst>
        </pc:spChg>
        <pc:spChg chg="mod">
          <ac:chgData name="Vik Verma" userId="658c3117-1579-4ad0-bc27-385c6f2212e9" providerId="ADAL" clId="{884E122A-9493-4B9D-A888-CA64B8E3236B}" dt="2020-09-13T13:12:56.158" v="1959" actId="1036"/>
          <ac:spMkLst>
            <pc:docMk/>
            <pc:sldMk cId="3277751935" sldId="4404"/>
            <ac:spMk id="51" creationId="{AFEB3C00-6E34-4A24-BF1B-E3BB0C5684F8}"/>
          </ac:spMkLst>
        </pc:spChg>
        <pc:spChg chg="mod">
          <ac:chgData name="Vik Verma" userId="658c3117-1579-4ad0-bc27-385c6f2212e9" providerId="ADAL" clId="{884E122A-9493-4B9D-A888-CA64B8E3236B}" dt="2020-09-13T13:12:56.158" v="1959" actId="1036"/>
          <ac:spMkLst>
            <pc:docMk/>
            <pc:sldMk cId="3277751935" sldId="4404"/>
            <ac:spMk id="52" creationId="{5E77B6B1-F13E-483A-84F0-F156B4335A89}"/>
          </ac:spMkLst>
        </pc:spChg>
        <pc:spChg chg="mod">
          <ac:chgData name="Vik Verma" userId="658c3117-1579-4ad0-bc27-385c6f2212e9" providerId="ADAL" clId="{884E122A-9493-4B9D-A888-CA64B8E3236B}" dt="2020-09-13T13:12:56.158" v="1959" actId="1036"/>
          <ac:spMkLst>
            <pc:docMk/>
            <pc:sldMk cId="3277751935" sldId="4404"/>
            <ac:spMk id="53" creationId="{96CF7CD4-986D-4A44-8F1D-50C28C069544}"/>
          </ac:spMkLst>
        </pc:spChg>
        <pc:spChg chg="mod">
          <ac:chgData name="Vik Verma" userId="658c3117-1579-4ad0-bc27-385c6f2212e9" providerId="ADAL" clId="{884E122A-9493-4B9D-A888-CA64B8E3236B}" dt="2020-09-13T13:12:56.158" v="1959" actId="1036"/>
          <ac:spMkLst>
            <pc:docMk/>
            <pc:sldMk cId="3277751935" sldId="4404"/>
            <ac:spMk id="54" creationId="{3FA9E87F-8DE4-4A04-932E-676E52DF947B}"/>
          </ac:spMkLst>
        </pc:spChg>
        <pc:spChg chg="mod">
          <ac:chgData name="Vik Verma" userId="658c3117-1579-4ad0-bc27-385c6f2212e9" providerId="ADAL" clId="{884E122A-9493-4B9D-A888-CA64B8E3236B}" dt="2020-09-13T13:12:56.158" v="1959" actId="1036"/>
          <ac:spMkLst>
            <pc:docMk/>
            <pc:sldMk cId="3277751935" sldId="4404"/>
            <ac:spMk id="55" creationId="{40B71442-034F-4C10-A936-ED836F533F17}"/>
          </ac:spMkLst>
        </pc:spChg>
        <pc:spChg chg="add del mod">
          <ac:chgData name="Vik Verma" userId="658c3117-1579-4ad0-bc27-385c6f2212e9" providerId="ADAL" clId="{884E122A-9493-4B9D-A888-CA64B8E3236B}" dt="2020-09-13T11:54:19.756" v="120" actId="478"/>
          <ac:spMkLst>
            <pc:docMk/>
            <pc:sldMk cId="3277751935" sldId="4404"/>
            <ac:spMk id="59" creationId="{8B7F02B0-CFF9-4931-8C4F-E0F657B6860C}"/>
          </ac:spMkLst>
        </pc:spChg>
        <pc:spChg chg="add mod topLvl">
          <ac:chgData name="Vik Verma" userId="658c3117-1579-4ad0-bc27-385c6f2212e9" providerId="ADAL" clId="{884E122A-9493-4B9D-A888-CA64B8E3236B}" dt="2020-09-13T13:12:56.158" v="1959" actId="1036"/>
          <ac:spMkLst>
            <pc:docMk/>
            <pc:sldMk cId="3277751935" sldId="4404"/>
            <ac:spMk id="61" creationId="{EC4E744E-A9F0-403A-8017-B708C14C1E51}"/>
          </ac:spMkLst>
        </pc:spChg>
        <pc:spChg chg="add mod ord">
          <ac:chgData name="Vik Verma" userId="658c3117-1579-4ad0-bc27-385c6f2212e9" providerId="ADAL" clId="{884E122A-9493-4B9D-A888-CA64B8E3236B}" dt="2020-09-13T13:12:56.158" v="1959" actId="1036"/>
          <ac:spMkLst>
            <pc:docMk/>
            <pc:sldMk cId="3277751935" sldId="4404"/>
            <ac:spMk id="64" creationId="{366E5796-48A5-4FBD-8D2B-C574DE4584F5}"/>
          </ac:spMkLst>
        </pc:spChg>
        <pc:spChg chg="add del mod topLvl">
          <ac:chgData name="Vik Verma" userId="658c3117-1579-4ad0-bc27-385c6f2212e9" providerId="ADAL" clId="{884E122A-9493-4B9D-A888-CA64B8E3236B}" dt="2020-09-13T11:57:24.377" v="156" actId="478"/>
          <ac:spMkLst>
            <pc:docMk/>
            <pc:sldMk cId="3277751935" sldId="4404"/>
            <ac:spMk id="65" creationId="{188E662B-1212-4DC7-9E54-DE5483AE921D}"/>
          </ac:spMkLst>
        </pc:spChg>
        <pc:spChg chg="add del mod">
          <ac:chgData name="Vik Verma" userId="658c3117-1579-4ad0-bc27-385c6f2212e9" providerId="ADAL" clId="{884E122A-9493-4B9D-A888-CA64B8E3236B}" dt="2020-09-13T11:57:29.603" v="157" actId="478"/>
          <ac:spMkLst>
            <pc:docMk/>
            <pc:sldMk cId="3277751935" sldId="4404"/>
            <ac:spMk id="66" creationId="{5BFD3759-F8AD-4B02-9DE0-5872B1D836D6}"/>
          </ac:spMkLst>
        </pc:spChg>
        <pc:spChg chg="mod">
          <ac:chgData name="Vik Verma" userId="658c3117-1579-4ad0-bc27-385c6f2212e9" providerId="ADAL" clId="{884E122A-9493-4B9D-A888-CA64B8E3236B}" dt="2020-09-13T11:54:13.246" v="119"/>
          <ac:spMkLst>
            <pc:docMk/>
            <pc:sldMk cId="3277751935" sldId="4404"/>
            <ac:spMk id="68" creationId="{0FB65054-B4FB-46C5-8207-6C6DBF39F2A5}"/>
          </ac:spMkLst>
        </pc:spChg>
        <pc:spChg chg="mod">
          <ac:chgData name="Vik Verma" userId="658c3117-1579-4ad0-bc27-385c6f2212e9" providerId="ADAL" clId="{884E122A-9493-4B9D-A888-CA64B8E3236B}" dt="2020-09-13T11:54:13.246" v="119"/>
          <ac:spMkLst>
            <pc:docMk/>
            <pc:sldMk cId="3277751935" sldId="4404"/>
            <ac:spMk id="69" creationId="{A5234783-1FC1-4EA6-839A-F5C0FDEEBFCE}"/>
          </ac:spMkLst>
        </pc:spChg>
        <pc:spChg chg="mod">
          <ac:chgData name="Vik Verma" userId="658c3117-1579-4ad0-bc27-385c6f2212e9" providerId="ADAL" clId="{884E122A-9493-4B9D-A888-CA64B8E3236B}" dt="2020-09-13T11:54:13.246" v="119"/>
          <ac:spMkLst>
            <pc:docMk/>
            <pc:sldMk cId="3277751935" sldId="4404"/>
            <ac:spMk id="71" creationId="{4B258AF2-2372-4E94-AF14-E12D083ADEFA}"/>
          </ac:spMkLst>
        </pc:spChg>
        <pc:spChg chg="mod">
          <ac:chgData name="Vik Verma" userId="658c3117-1579-4ad0-bc27-385c6f2212e9" providerId="ADAL" clId="{884E122A-9493-4B9D-A888-CA64B8E3236B}" dt="2020-09-13T11:54:13.246" v="119"/>
          <ac:spMkLst>
            <pc:docMk/>
            <pc:sldMk cId="3277751935" sldId="4404"/>
            <ac:spMk id="72" creationId="{7CB0F891-AEDA-475B-ADCC-C46782002221}"/>
          </ac:spMkLst>
        </pc:spChg>
        <pc:spChg chg="mod">
          <ac:chgData name="Vik Verma" userId="658c3117-1579-4ad0-bc27-385c6f2212e9" providerId="ADAL" clId="{884E122A-9493-4B9D-A888-CA64B8E3236B}" dt="2020-09-13T11:54:13.246" v="119"/>
          <ac:spMkLst>
            <pc:docMk/>
            <pc:sldMk cId="3277751935" sldId="4404"/>
            <ac:spMk id="73" creationId="{95CD08EA-C806-4839-B4B6-CA0DC0B6645B}"/>
          </ac:spMkLst>
        </pc:spChg>
        <pc:spChg chg="mod">
          <ac:chgData name="Vik Verma" userId="658c3117-1579-4ad0-bc27-385c6f2212e9" providerId="ADAL" clId="{884E122A-9493-4B9D-A888-CA64B8E3236B}" dt="2020-09-13T11:54:13.246" v="119"/>
          <ac:spMkLst>
            <pc:docMk/>
            <pc:sldMk cId="3277751935" sldId="4404"/>
            <ac:spMk id="74" creationId="{BFC6C5BA-CA24-4654-B037-5EA0C9A2E78A}"/>
          </ac:spMkLst>
        </pc:spChg>
        <pc:spChg chg="mod">
          <ac:chgData name="Vik Verma" userId="658c3117-1579-4ad0-bc27-385c6f2212e9" providerId="ADAL" clId="{884E122A-9493-4B9D-A888-CA64B8E3236B}" dt="2020-09-13T11:54:13.246" v="119"/>
          <ac:spMkLst>
            <pc:docMk/>
            <pc:sldMk cId="3277751935" sldId="4404"/>
            <ac:spMk id="76" creationId="{0BE38A01-E0D5-4034-A655-C0B3C112CF18}"/>
          </ac:spMkLst>
        </pc:spChg>
        <pc:spChg chg="mod">
          <ac:chgData name="Vik Verma" userId="658c3117-1579-4ad0-bc27-385c6f2212e9" providerId="ADAL" clId="{884E122A-9493-4B9D-A888-CA64B8E3236B}" dt="2020-09-13T11:54:13.246" v="119"/>
          <ac:spMkLst>
            <pc:docMk/>
            <pc:sldMk cId="3277751935" sldId="4404"/>
            <ac:spMk id="77" creationId="{9783F355-E0A1-4454-B79C-3EF52CE1F45C}"/>
          </ac:spMkLst>
        </pc:spChg>
        <pc:spChg chg="mod">
          <ac:chgData name="Vik Verma" userId="658c3117-1579-4ad0-bc27-385c6f2212e9" providerId="ADAL" clId="{884E122A-9493-4B9D-A888-CA64B8E3236B}" dt="2020-09-13T11:54:13.246" v="119"/>
          <ac:spMkLst>
            <pc:docMk/>
            <pc:sldMk cId="3277751935" sldId="4404"/>
            <ac:spMk id="80" creationId="{BD8459E3-00D2-4297-8908-6675A6BC3B99}"/>
          </ac:spMkLst>
        </pc:spChg>
        <pc:spChg chg="mod">
          <ac:chgData name="Vik Verma" userId="658c3117-1579-4ad0-bc27-385c6f2212e9" providerId="ADAL" clId="{884E122A-9493-4B9D-A888-CA64B8E3236B}" dt="2020-09-13T11:54:13.246" v="119"/>
          <ac:spMkLst>
            <pc:docMk/>
            <pc:sldMk cId="3277751935" sldId="4404"/>
            <ac:spMk id="82" creationId="{0FE43A74-D999-4F29-8023-0D5BBE0B52C2}"/>
          </ac:spMkLst>
        </pc:spChg>
        <pc:spChg chg="mod">
          <ac:chgData name="Vik Verma" userId="658c3117-1579-4ad0-bc27-385c6f2212e9" providerId="ADAL" clId="{884E122A-9493-4B9D-A888-CA64B8E3236B}" dt="2020-09-13T11:54:13.246" v="119"/>
          <ac:spMkLst>
            <pc:docMk/>
            <pc:sldMk cId="3277751935" sldId="4404"/>
            <ac:spMk id="84" creationId="{0E8D7798-B1A2-4C64-8996-53859FC4B56A}"/>
          </ac:spMkLst>
        </pc:spChg>
        <pc:spChg chg="mod">
          <ac:chgData name="Vik Verma" userId="658c3117-1579-4ad0-bc27-385c6f2212e9" providerId="ADAL" clId="{884E122A-9493-4B9D-A888-CA64B8E3236B}" dt="2020-09-13T11:54:13.246" v="119"/>
          <ac:spMkLst>
            <pc:docMk/>
            <pc:sldMk cId="3277751935" sldId="4404"/>
            <ac:spMk id="85" creationId="{23F9813D-0D5F-498B-91CB-3D2A8D2A070E}"/>
          </ac:spMkLst>
        </pc:spChg>
        <pc:spChg chg="del mod topLvl">
          <ac:chgData name="Vik Verma" userId="658c3117-1579-4ad0-bc27-385c6f2212e9" providerId="ADAL" clId="{884E122A-9493-4B9D-A888-CA64B8E3236B}" dt="2020-09-13T11:54:51.647" v="128" actId="478"/>
          <ac:spMkLst>
            <pc:docMk/>
            <pc:sldMk cId="3277751935" sldId="4404"/>
            <ac:spMk id="90" creationId="{D6F54A4D-797D-4685-83F2-56050CB86EBC}"/>
          </ac:spMkLst>
        </pc:spChg>
        <pc:spChg chg="del mod topLvl">
          <ac:chgData name="Vik Verma" userId="658c3117-1579-4ad0-bc27-385c6f2212e9" providerId="ADAL" clId="{884E122A-9493-4B9D-A888-CA64B8E3236B}" dt="2020-09-13T11:54:51.647" v="128" actId="478"/>
          <ac:spMkLst>
            <pc:docMk/>
            <pc:sldMk cId="3277751935" sldId="4404"/>
            <ac:spMk id="98" creationId="{A301A783-4FE3-4261-B313-CC6DD8B718A3}"/>
          </ac:spMkLst>
        </pc:spChg>
        <pc:spChg chg="del mod">
          <ac:chgData name="Vik Verma" userId="658c3117-1579-4ad0-bc27-385c6f2212e9" providerId="ADAL" clId="{884E122A-9493-4B9D-A888-CA64B8E3236B}" dt="2020-09-13T11:54:32.539" v="125" actId="478"/>
          <ac:spMkLst>
            <pc:docMk/>
            <pc:sldMk cId="3277751935" sldId="4404"/>
            <ac:spMk id="99" creationId="{4CAD26EA-65F6-4B78-AE2A-396E00ED29C3}"/>
          </ac:spMkLst>
        </pc:spChg>
        <pc:spChg chg="del mod">
          <ac:chgData name="Vik Verma" userId="658c3117-1579-4ad0-bc27-385c6f2212e9" providerId="ADAL" clId="{884E122A-9493-4B9D-A888-CA64B8E3236B}" dt="2020-09-13T11:54:38.425" v="126" actId="478"/>
          <ac:spMkLst>
            <pc:docMk/>
            <pc:sldMk cId="3277751935" sldId="4404"/>
            <ac:spMk id="100" creationId="{19E5494E-CCED-4915-B436-7833E3BDEB47}"/>
          </ac:spMkLst>
        </pc:spChg>
        <pc:spChg chg="mod">
          <ac:chgData name="Vik Verma" userId="658c3117-1579-4ad0-bc27-385c6f2212e9" providerId="ADAL" clId="{884E122A-9493-4B9D-A888-CA64B8E3236B}" dt="2020-09-13T11:54:13.246" v="119"/>
          <ac:spMkLst>
            <pc:docMk/>
            <pc:sldMk cId="3277751935" sldId="4404"/>
            <ac:spMk id="104" creationId="{CC057920-9CE8-4B44-A177-13D7993063C1}"/>
          </ac:spMkLst>
        </pc:spChg>
        <pc:spChg chg="mod">
          <ac:chgData name="Vik Verma" userId="658c3117-1579-4ad0-bc27-385c6f2212e9" providerId="ADAL" clId="{884E122A-9493-4B9D-A888-CA64B8E3236B}" dt="2020-09-13T11:54:13.246" v="119"/>
          <ac:spMkLst>
            <pc:docMk/>
            <pc:sldMk cId="3277751935" sldId="4404"/>
            <ac:spMk id="105" creationId="{F446D5E0-401D-42D3-991F-51505644AA3E}"/>
          </ac:spMkLst>
        </pc:spChg>
        <pc:spChg chg="mod">
          <ac:chgData name="Vik Verma" userId="658c3117-1579-4ad0-bc27-385c6f2212e9" providerId="ADAL" clId="{884E122A-9493-4B9D-A888-CA64B8E3236B}" dt="2020-09-13T11:54:13.246" v="119"/>
          <ac:spMkLst>
            <pc:docMk/>
            <pc:sldMk cId="3277751935" sldId="4404"/>
            <ac:spMk id="107" creationId="{3363AC58-5059-452B-9ADA-6847C50D1DA1}"/>
          </ac:spMkLst>
        </pc:spChg>
        <pc:spChg chg="mod">
          <ac:chgData name="Vik Verma" userId="658c3117-1579-4ad0-bc27-385c6f2212e9" providerId="ADAL" clId="{884E122A-9493-4B9D-A888-CA64B8E3236B}" dt="2020-09-13T11:54:13.246" v="119"/>
          <ac:spMkLst>
            <pc:docMk/>
            <pc:sldMk cId="3277751935" sldId="4404"/>
            <ac:spMk id="108" creationId="{07086459-4401-4D9F-BDDF-2C7C038BB70A}"/>
          </ac:spMkLst>
        </pc:spChg>
        <pc:spChg chg="mod">
          <ac:chgData name="Vik Verma" userId="658c3117-1579-4ad0-bc27-385c6f2212e9" providerId="ADAL" clId="{884E122A-9493-4B9D-A888-CA64B8E3236B}" dt="2020-09-13T11:54:13.246" v="119"/>
          <ac:spMkLst>
            <pc:docMk/>
            <pc:sldMk cId="3277751935" sldId="4404"/>
            <ac:spMk id="109" creationId="{A4F91E41-86F6-456A-85FE-E9D27DC57301}"/>
          </ac:spMkLst>
        </pc:spChg>
        <pc:spChg chg="mod">
          <ac:chgData name="Vik Verma" userId="658c3117-1579-4ad0-bc27-385c6f2212e9" providerId="ADAL" clId="{884E122A-9493-4B9D-A888-CA64B8E3236B}" dt="2020-09-13T11:54:13.246" v="119"/>
          <ac:spMkLst>
            <pc:docMk/>
            <pc:sldMk cId="3277751935" sldId="4404"/>
            <ac:spMk id="110" creationId="{A2B98AB6-0EA8-499A-8C89-52A61CFE4E89}"/>
          </ac:spMkLst>
        </pc:spChg>
        <pc:spChg chg="mod">
          <ac:chgData name="Vik Verma" userId="658c3117-1579-4ad0-bc27-385c6f2212e9" providerId="ADAL" clId="{884E122A-9493-4B9D-A888-CA64B8E3236B}" dt="2020-09-13T11:54:13.246" v="119"/>
          <ac:spMkLst>
            <pc:docMk/>
            <pc:sldMk cId="3277751935" sldId="4404"/>
            <ac:spMk id="111" creationId="{4528E416-7F7B-4897-99ED-40010173E543}"/>
          </ac:spMkLst>
        </pc:spChg>
        <pc:spChg chg="mod">
          <ac:chgData name="Vik Verma" userId="658c3117-1579-4ad0-bc27-385c6f2212e9" providerId="ADAL" clId="{884E122A-9493-4B9D-A888-CA64B8E3236B}" dt="2020-09-13T11:54:13.246" v="119"/>
          <ac:spMkLst>
            <pc:docMk/>
            <pc:sldMk cId="3277751935" sldId="4404"/>
            <ac:spMk id="112" creationId="{924708A8-B875-43CE-BF3F-4C238F1E5BC4}"/>
          </ac:spMkLst>
        </pc:spChg>
        <pc:spChg chg="mod">
          <ac:chgData name="Vik Verma" userId="658c3117-1579-4ad0-bc27-385c6f2212e9" providerId="ADAL" clId="{884E122A-9493-4B9D-A888-CA64B8E3236B}" dt="2020-09-13T11:54:13.246" v="119"/>
          <ac:spMkLst>
            <pc:docMk/>
            <pc:sldMk cId="3277751935" sldId="4404"/>
            <ac:spMk id="113" creationId="{FD861443-8A9A-42B9-941D-7CD9276E3E72}"/>
          </ac:spMkLst>
        </pc:spChg>
        <pc:spChg chg="mod">
          <ac:chgData name="Vik Verma" userId="658c3117-1579-4ad0-bc27-385c6f2212e9" providerId="ADAL" clId="{884E122A-9493-4B9D-A888-CA64B8E3236B}" dt="2020-09-13T11:54:13.246" v="119"/>
          <ac:spMkLst>
            <pc:docMk/>
            <pc:sldMk cId="3277751935" sldId="4404"/>
            <ac:spMk id="114" creationId="{B864BA16-F19B-4854-B0C6-801A758A1CEA}"/>
          </ac:spMkLst>
        </pc:spChg>
        <pc:spChg chg="mod">
          <ac:chgData name="Vik Verma" userId="658c3117-1579-4ad0-bc27-385c6f2212e9" providerId="ADAL" clId="{884E122A-9493-4B9D-A888-CA64B8E3236B}" dt="2020-09-13T11:54:13.246" v="119"/>
          <ac:spMkLst>
            <pc:docMk/>
            <pc:sldMk cId="3277751935" sldId="4404"/>
            <ac:spMk id="115" creationId="{E1EEEE31-5427-4ABD-BE40-9C1118FDFAB1}"/>
          </ac:spMkLst>
        </pc:spChg>
        <pc:spChg chg="mod">
          <ac:chgData name="Vik Verma" userId="658c3117-1579-4ad0-bc27-385c6f2212e9" providerId="ADAL" clId="{884E122A-9493-4B9D-A888-CA64B8E3236B}" dt="2020-09-13T11:54:13.246" v="119"/>
          <ac:spMkLst>
            <pc:docMk/>
            <pc:sldMk cId="3277751935" sldId="4404"/>
            <ac:spMk id="117" creationId="{E726F862-6CE6-46E5-A9F1-064518F361B8}"/>
          </ac:spMkLst>
        </pc:spChg>
        <pc:spChg chg="mod">
          <ac:chgData name="Vik Verma" userId="658c3117-1579-4ad0-bc27-385c6f2212e9" providerId="ADAL" clId="{884E122A-9493-4B9D-A888-CA64B8E3236B}" dt="2020-09-13T11:54:13.246" v="119"/>
          <ac:spMkLst>
            <pc:docMk/>
            <pc:sldMk cId="3277751935" sldId="4404"/>
            <ac:spMk id="119" creationId="{DC02A01B-D934-4EC1-8C9A-5C3ED7404277}"/>
          </ac:spMkLst>
        </pc:spChg>
        <pc:spChg chg="mod">
          <ac:chgData name="Vik Verma" userId="658c3117-1579-4ad0-bc27-385c6f2212e9" providerId="ADAL" clId="{884E122A-9493-4B9D-A888-CA64B8E3236B}" dt="2020-09-13T11:54:13.246" v="119"/>
          <ac:spMkLst>
            <pc:docMk/>
            <pc:sldMk cId="3277751935" sldId="4404"/>
            <ac:spMk id="120" creationId="{425F3729-2EB8-4084-85AA-2ABD0C43F9CE}"/>
          </ac:spMkLst>
        </pc:spChg>
        <pc:spChg chg="mod">
          <ac:chgData name="Vik Verma" userId="658c3117-1579-4ad0-bc27-385c6f2212e9" providerId="ADAL" clId="{884E122A-9493-4B9D-A888-CA64B8E3236B}" dt="2020-09-13T11:54:13.246" v="119"/>
          <ac:spMkLst>
            <pc:docMk/>
            <pc:sldMk cId="3277751935" sldId="4404"/>
            <ac:spMk id="121" creationId="{F770169C-789E-4C15-B83B-53E9F044ADDD}"/>
          </ac:spMkLst>
        </pc:spChg>
        <pc:spChg chg="mod">
          <ac:chgData name="Vik Verma" userId="658c3117-1579-4ad0-bc27-385c6f2212e9" providerId="ADAL" clId="{884E122A-9493-4B9D-A888-CA64B8E3236B}" dt="2020-09-13T11:54:13.246" v="119"/>
          <ac:spMkLst>
            <pc:docMk/>
            <pc:sldMk cId="3277751935" sldId="4404"/>
            <ac:spMk id="122" creationId="{179DD1BC-BBD5-4BD4-B6A8-98F838CBA574}"/>
          </ac:spMkLst>
        </pc:spChg>
        <pc:spChg chg="mod">
          <ac:chgData name="Vik Verma" userId="658c3117-1579-4ad0-bc27-385c6f2212e9" providerId="ADAL" clId="{884E122A-9493-4B9D-A888-CA64B8E3236B}" dt="2020-09-13T11:54:13.246" v="119"/>
          <ac:spMkLst>
            <pc:docMk/>
            <pc:sldMk cId="3277751935" sldId="4404"/>
            <ac:spMk id="123" creationId="{3FCC678D-4E84-43E8-AAD7-C486692C298B}"/>
          </ac:spMkLst>
        </pc:spChg>
        <pc:spChg chg="mod">
          <ac:chgData name="Vik Verma" userId="658c3117-1579-4ad0-bc27-385c6f2212e9" providerId="ADAL" clId="{884E122A-9493-4B9D-A888-CA64B8E3236B}" dt="2020-09-13T11:54:13.246" v="119"/>
          <ac:spMkLst>
            <pc:docMk/>
            <pc:sldMk cId="3277751935" sldId="4404"/>
            <ac:spMk id="124" creationId="{FD13C3DA-66BA-4E98-9152-FB0A1E099904}"/>
          </ac:spMkLst>
        </pc:spChg>
        <pc:spChg chg="mod">
          <ac:chgData name="Vik Verma" userId="658c3117-1579-4ad0-bc27-385c6f2212e9" providerId="ADAL" clId="{884E122A-9493-4B9D-A888-CA64B8E3236B}" dt="2020-09-13T11:54:13.246" v="119"/>
          <ac:spMkLst>
            <pc:docMk/>
            <pc:sldMk cId="3277751935" sldId="4404"/>
            <ac:spMk id="125" creationId="{419009B8-012F-47CB-9383-EB3C30064002}"/>
          </ac:spMkLst>
        </pc:spChg>
        <pc:spChg chg="mod">
          <ac:chgData name="Vik Verma" userId="658c3117-1579-4ad0-bc27-385c6f2212e9" providerId="ADAL" clId="{884E122A-9493-4B9D-A888-CA64B8E3236B}" dt="2020-09-13T11:54:13.246" v="119"/>
          <ac:spMkLst>
            <pc:docMk/>
            <pc:sldMk cId="3277751935" sldId="4404"/>
            <ac:spMk id="126" creationId="{CC60C86D-F78E-49FB-B0D0-6FEAD87C2FAA}"/>
          </ac:spMkLst>
        </pc:spChg>
        <pc:spChg chg="mod">
          <ac:chgData name="Vik Verma" userId="658c3117-1579-4ad0-bc27-385c6f2212e9" providerId="ADAL" clId="{884E122A-9493-4B9D-A888-CA64B8E3236B}" dt="2020-09-13T11:54:13.246" v="119"/>
          <ac:spMkLst>
            <pc:docMk/>
            <pc:sldMk cId="3277751935" sldId="4404"/>
            <ac:spMk id="127" creationId="{481A70E7-9582-4FB5-B8BF-074569DBFE8F}"/>
          </ac:spMkLst>
        </pc:spChg>
        <pc:spChg chg="mod">
          <ac:chgData name="Vik Verma" userId="658c3117-1579-4ad0-bc27-385c6f2212e9" providerId="ADAL" clId="{884E122A-9493-4B9D-A888-CA64B8E3236B}" dt="2020-09-13T11:54:13.246" v="119"/>
          <ac:spMkLst>
            <pc:docMk/>
            <pc:sldMk cId="3277751935" sldId="4404"/>
            <ac:spMk id="129" creationId="{A18F688B-B17E-40E2-BCDE-C2FD8E02B063}"/>
          </ac:spMkLst>
        </pc:spChg>
        <pc:spChg chg="mod">
          <ac:chgData name="Vik Verma" userId="658c3117-1579-4ad0-bc27-385c6f2212e9" providerId="ADAL" clId="{884E122A-9493-4B9D-A888-CA64B8E3236B}" dt="2020-09-13T11:54:13.246" v="119"/>
          <ac:spMkLst>
            <pc:docMk/>
            <pc:sldMk cId="3277751935" sldId="4404"/>
            <ac:spMk id="131" creationId="{5E653CAC-525B-4645-B51D-BB49B35E5AA7}"/>
          </ac:spMkLst>
        </pc:spChg>
        <pc:spChg chg="mod">
          <ac:chgData name="Vik Verma" userId="658c3117-1579-4ad0-bc27-385c6f2212e9" providerId="ADAL" clId="{884E122A-9493-4B9D-A888-CA64B8E3236B}" dt="2020-09-13T11:54:13.246" v="119"/>
          <ac:spMkLst>
            <pc:docMk/>
            <pc:sldMk cId="3277751935" sldId="4404"/>
            <ac:spMk id="132" creationId="{38AAB504-4778-4986-86A0-855259EF3E00}"/>
          </ac:spMkLst>
        </pc:spChg>
        <pc:spChg chg="mod">
          <ac:chgData name="Vik Verma" userId="658c3117-1579-4ad0-bc27-385c6f2212e9" providerId="ADAL" clId="{884E122A-9493-4B9D-A888-CA64B8E3236B}" dt="2020-09-13T11:54:13.246" v="119"/>
          <ac:spMkLst>
            <pc:docMk/>
            <pc:sldMk cId="3277751935" sldId="4404"/>
            <ac:spMk id="133" creationId="{AC5D8940-7DAD-40DA-843D-E7FB98CFACE7}"/>
          </ac:spMkLst>
        </pc:spChg>
        <pc:spChg chg="mod">
          <ac:chgData name="Vik Verma" userId="658c3117-1579-4ad0-bc27-385c6f2212e9" providerId="ADAL" clId="{884E122A-9493-4B9D-A888-CA64B8E3236B}" dt="2020-09-13T11:54:13.246" v="119"/>
          <ac:spMkLst>
            <pc:docMk/>
            <pc:sldMk cId="3277751935" sldId="4404"/>
            <ac:spMk id="135" creationId="{187F7614-D5DF-4608-AB17-08A96129ED1B}"/>
          </ac:spMkLst>
        </pc:spChg>
        <pc:spChg chg="mod">
          <ac:chgData name="Vik Verma" userId="658c3117-1579-4ad0-bc27-385c6f2212e9" providerId="ADAL" clId="{884E122A-9493-4B9D-A888-CA64B8E3236B}" dt="2020-09-13T11:54:13.246" v="119"/>
          <ac:spMkLst>
            <pc:docMk/>
            <pc:sldMk cId="3277751935" sldId="4404"/>
            <ac:spMk id="137" creationId="{BB1E2A08-F22D-4C4D-A79C-F3D4235FC249}"/>
          </ac:spMkLst>
        </pc:spChg>
        <pc:spChg chg="mod">
          <ac:chgData name="Vik Verma" userId="658c3117-1579-4ad0-bc27-385c6f2212e9" providerId="ADAL" clId="{884E122A-9493-4B9D-A888-CA64B8E3236B}" dt="2020-09-13T11:54:13.246" v="119"/>
          <ac:spMkLst>
            <pc:docMk/>
            <pc:sldMk cId="3277751935" sldId="4404"/>
            <ac:spMk id="138" creationId="{06CF84F6-25B5-4942-B77F-702D770425E3}"/>
          </ac:spMkLst>
        </pc:spChg>
        <pc:spChg chg="mod">
          <ac:chgData name="Vik Verma" userId="658c3117-1579-4ad0-bc27-385c6f2212e9" providerId="ADAL" clId="{884E122A-9493-4B9D-A888-CA64B8E3236B}" dt="2020-09-13T11:54:13.246" v="119"/>
          <ac:spMkLst>
            <pc:docMk/>
            <pc:sldMk cId="3277751935" sldId="4404"/>
            <ac:spMk id="139" creationId="{0C5A4C1E-B5FF-493C-81D1-56CBD4224CF7}"/>
          </ac:spMkLst>
        </pc:spChg>
        <pc:spChg chg="mod">
          <ac:chgData name="Vik Verma" userId="658c3117-1579-4ad0-bc27-385c6f2212e9" providerId="ADAL" clId="{884E122A-9493-4B9D-A888-CA64B8E3236B}" dt="2020-09-13T11:54:13.246" v="119"/>
          <ac:spMkLst>
            <pc:docMk/>
            <pc:sldMk cId="3277751935" sldId="4404"/>
            <ac:spMk id="140" creationId="{C42524C6-9CB3-4851-A8D8-A8A40427A9A5}"/>
          </ac:spMkLst>
        </pc:spChg>
        <pc:spChg chg="mod">
          <ac:chgData name="Vik Verma" userId="658c3117-1579-4ad0-bc27-385c6f2212e9" providerId="ADAL" clId="{884E122A-9493-4B9D-A888-CA64B8E3236B}" dt="2020-09-13T11:54:13.246" v="119"/>
          <ac:spMkLst>
            <pc:docMk/>
            <pc:sldMk cId="3277751935" sldId="4404"/>
            <ac:spMk id="142" creationId="{86406407-BDC3-47E1-960A-9E92BAF22E06}"/>
          </ac:spMkLst>
        </pc:spChg>
        <pc:spChg chg="mod">
          <ac:chgData name="Vik Verma" userId="658c3117-1579-4ad0-bc27-385c6f2212e9" providerId="ADAL" clId="{884E122A-9493-4B9D-A888-CA64B8E3236B}" dt="2020-09-13T11:54:13.246" v="119"/>
          <ac:spMkLst>
            <pc:docMk/>
            <pc:sldMk cId="3277751935" sldId="4404"/>
            <ac:spMk id="143" creationId="{E0DDC274-C5DC-4924-9655-7914E2917BDC}"/>
          </ac:spMkLst>
        </pc:spChg>
        <pc:spChg chg="mod">
          <ac:chgData name="Vik Verma" userId="658c3117-1579-4ad0-bc27-385c6f2212e9" providerId="ADAL" clId="{884E122A-9493-4B9D-A888-CA64B8E3236B}" dt="2020-09-13T13:12:56.158" v="1959" actId="1036"/>
          <ac:spMkLst>
            <pc:docMk/>
            <pc:sldMk cId="3277751935" sldId="4404"/>
            <ac:spMk id="144" creationId="{13557256-7524-4FBA-A99F-19460DB8CB6C}"/>
          </ac:spMkLst>
        </pc:spChg>
        <pc:spChg chg="add mod ord topLvl">
          <ac:chgData name="Vik Verma" userId="658c3117-1579-4ad0-bc27-385c6f2212e9" providerId="ADAL" clId="{884E122A-9493-4B9D-A888-CA64B8E3236B}" dt="2020-09-13T13:12:56.158" v="1959" actId="1036"/>
          <ac:spMkLst>
            <pc:docMk/>
            <pc:sldMk cId="3277751935" sldId="4404"/>
            <ac:spMk id="152" creationId="{87C11901-AA7E-4D2D-98D3-085D53DACC5B}"/>
          </ac:spMkLst>
        </pc:spChg>
        <pc:spChg chg="mod">
          <ac:chgData name="Vik Verma" userId="658c3117-1579-4ad0-bc27-385c6f2212e9" providerId="ADAL" clId="{884E122A-9493-4B9D-A888-CA64B8E3236B}" dt="2020-09-13T11:58:03.537" v="163"/>
          <ac:spMkLst>
            <pc:docMk/>
            <pc:sldMk cId="3277751935" sldId="4404"/>
            <ac:spMk id="155" creationId="{4DF514DE-160D-4296-9F4F-FB7CC4F2DFDE}"/>
          </ac:spMkLst>
        </pc:spChg>
        <pc:spChg chg="mod">
          <ac:chgData name="Vik Verma" userId="658c3117-1579-4ad0-bc27-385c6f2212e9" providerId="ADAL" clId="{884E122A-9493-4B9D-A888-CA64B8E3236B}" dt="2020-09-13T11:58:03.537" v="163"/>
          <ac:spMkLst>
            <pc:docMk/>
            <pc:sldMk cId="3277751935" sldId="4404"/>
            <ac:spMk id="157" creationId="{9919E9D8-269D-4405-AFA8-408FDF9DE034}"/>
          </ac:spMkLst>
        </pc:spChg>
        <pc:spChg chg="mod">
          <ac:chgData name="Vik Verma" userId="658c3117-1579-4ad0-bc27-385c6f2212e9" providerId="ADAL" clId="{884E122A-9493-4B9D-A888-CA64B8E3236B}" dt="2020-09-13T11:58:03.537" v="163"/>
          <ac:spMkLst>
            <pc:docMk/>
            <pc:sldMk cId="3277751935" sldId="4404"/>
            <ac:spMk id="158" creationId="{4164A014-9C5B-4D7E-A957-E11AEE7EBB89}"/>
          </ac:spMkLst>
        </pc:spChg>
        <pc:spChg chg="mod">
          <ac:chgData name="Vik Verma" userId="658c3117-1579-4ad0-bc27-385c6f2212e9" providerId="ADAL" clId="{884E122A-9493-4B9D-A888-CA64B8E3236B}" dt="2020-09-13T11:58:03.537" v="163"/>
          <ac:spMkLst>
            <pc:docMk/>
            <pc:sldMk cId="3277751935" sldId="4404"/>
            <ac:spMk id="160" creationId="{C20CB7CA-DDFB-4169-8831-1A2934D3CC01}"/>
          </ac:spMkLst>
        </pc:spChg>
        <pc:spChg chg="mod">
          <ac:chgData name="Vik Verma" userId="658c3117-1579-4ad0-bc27-385c6f2212e9" providerId="ADAL" clId="{884E122A-9493-4B9D-A888-CA64B8E3236B}" dt="2020-09-13T11:58:03.537" v="163"/>
          <ac:spMkLst>
            <pc:docMk/>
            <pc:sldMk cId="3277751935" sldId="4404"/>
            <ac:spMk id="163" creationId="{186DB366-D80B-4C58-B31E-20D2CA14F5A7}"/>
          </ac:spMkLst>
        </pc:spChg>
        <pc:spChg chg="mod">
          <ac:chgData name="Vik Verma" userId="658c3117-1579-4ad0-bc27-385c6f2212e9" providerId="ADAL" clId="{884E122A-9493-4B9D-A888-CA64B8E3236B}" dt="2020-09-13T11:58:03.537" v="163"/>
          <ac:spMkLst>
            <pc:docMk/>
            <pc:sldMk cId="3277751935" sldId="4404"/>
            <ac:spMk id="164" creationId="{D4B458FD-D60F-4B87-AF3F-C14CC6826B34}"/>
          </ac:spMkLst>
        </pc:spChg>
        <pc:spChg chg="mod">
          <ac:chgData name="Vik Verma" userId="658c3117-1579-4ad0-bc27-385c6f2212e9" providerId="ADAL" clId="{884E122A-9493-4B9D-A888-CA64B8E3236B}" dt="2020-09-13T11:58:03.537" v="163"/>
          <ac:spMkLst>
            <pc:docMk/>
            <pc:sldMk cId="3277751935" sldId="4404"/>
            <ac:spMk id="165" creationId="{DCE9FA1C-7F72-47D2-9844-6308FBA82798}"/>
          </ac:spMkLst>
        </pc:spChg>
        <pc:spChg chg="mod">
          <ac:chgData name="Vik Verma" userId="658c3117-1579-4ad0-bc27-385c6f2212e9" providerId="ADAL" clId="{884E122A-9493-4B9D-A888-CA64B8E3236B}" dt="2020-09-13T11:58:14.950" v="165" actId="6549"/>
          <ac:spMkLst>
            <pc:docMk/>
            <pc:sldMk cId="3277751935" sldId="4404"/>
            <ac:spMk id="169" creationId="{90C865D2-5021-477B-954A-01D41CF8AA22}"/>
          </ac:spMkLst>
        </pc:spChg>
        <pc:spChg chg="mod">
          <ac:chgData name="Vik Verma" userId="658c3117-1579-4ad0-bc27-385c6f2212e9" providerId="ADAL" clId="{884E122A-9493-4B9D-A888-CA64B8E3236B}" dt="2020-09-13T11:58:03.537" v="163"/>
          <ac:spMkLst>
            <pc:docMk/>
            <pc:sldMk cId="3277751935" sldId="4404"/>
            <ac:spMk id="170" creationId="{53FB8B25-B63E-48DE-9A50-49D48564A4E8}"/>
          </ac:spMkLst>
        </pc:spChg>
        <pc:spChg chg="mod">
          <ac:chgData name="Vik Verma" userId="658c3117-1579-4ad0-bc27-385c6f2212e9" providerId="ADAL" clId="{884E122A-9493-4B9D-A888-CA64B8E3236B}" dt="2020-09-13T11:58:03.537" v="163"/>
          <ac:spMkLst>
            <pc:docMk/>
            <pc:sldMk cId="3277751935" sldId="4404"/>
            <ac:spMk id="176" creationId="{63368876-7578-41F0-BBFA-5F3B172086F9}"/>
          </ac:spMkLst>
        </pc:spChg>
        <pc:spChg chg="mod">
          <ac:chgData name="Vik Verma" userId="658c3117-1579-4ad0-bc27-385c6f2212e9" providerId="ADAL" clId="{884E122A-9493-4B9D-A888-CA64B8E3236B}" dt="2020-09-13T11:58:03.537" v="163"/>
          <ac:spMkLst>
            <pc:docMk/>
            <pc:sldMk cId="3277751935" sldId="4404"/>
            <ac:spMk id="177" creationId="{6D59B9D6-054A-4E4A-9D4F-D097B0A566A9}"/>
          </ac:spMkLst>
        </pc:spChg>
        <pc:spChg chg="mod">
          <ac:chgData name="Vik Verma" userId="658c3117-1579-4ad0-bc27-385c6f2212e9" providerId="ADAL" clId="{884E122A-9493-4B9D-A888-CA64B8E3236B}" dt="2020-09-13T11:58:03.537" v="163"/>
          <ac:spMkLst>
            <pc:docMk/>
            <pc:sldMk cId="3277751935" sldId="4404"/>
            <ac:spMk id="178" creationId="{FF3F8DAD-38BB-4A16-8308-D0AB88A11C85}"/>
          </ac:spMkLst>
        </pc:spChg>
        <pc:spChg chg="mod">
          <ac:chgData name="Vik Verma" userId="658c3117-1579-4ad0-bc27-385c6f2212e9" providerId="ADAL" clId="{884E122A-9493-4B9D-A888-CA64B8E3236B}" dt="2020-09-13T11:58:03.537" v="163"/>
          <ac:spMkLst>
            <pc:docMk/>
            <pc:sldMk cId="3277751935" sldId="4404"/>
            <ac:spMk id="179" creationId="{F2DCE933-C394-4C8B-8562-805526B5B2EE}"/>
          </ac:spMkLst>
        </pc:spChg>
        <pc:spChg chg="mod">
          <ac:chgData name="Vik Verma" userId="658c3117-1579-4ad0-bc27-385c6f2212e9" providerId="ADAL" clId="{884E122A-9493-4B9D-A888-CA64B8E3236B}" dt="2020-09-13T11:59:40.954" v="167"/>
          <ac:spMkLst>
            <pc:docMk/>
            <pc:sldMk cId="3277751935" sldId="4404"/>
            <ac:spMk id="182" creationId="{4D16F25E-BE58-4671-B68A-CADF9579FD8C}"/>
          </ac:spMkLst>
        </pc:spChg>
        <pc:spChg chg="mod">
          <ac:chgData name="Vik Verma" userId="658c3117-1579-4ad0-bc27-385c6f2212e9" providerId="ADAL" clId="{884E122A-9493-4B9D-A888-CA64B8E3236B}" dt="2020-09-13T11:59:40.954" v="167"/>
          <ac:spMkLst>
            <pc:docMk/>
            <pc:sldMk cId="3277751935" sldId="4404"/>
            <ac:spMk id="184" creationId="{4F5D909D-710D-4D47-B37B-C9E5F2C58360}"/>
          </ac:spMkLst>
        </pc:spChg>
        <pc:spChg chg="mod">
          <ac:chgData name="Vik Verma" userId="658c3117-1579-4ad0-bc27-385c6f2212e9" providerId="ADAL" clId="{884E122A-9493-4B9D-A888-CA64B8E3236B}" dt="2020-09-13T11:59:40.954" v="167"/>
          <ac:spMkLst>
            <pc:docMk/>
            <pc:sldMk cId="3277751935" sldId="4404"/>
            <ac:spMk id="185" creationId="{19B20F54-2954-4ABC-93EA-8C2503295200}"/>
          </ac:spMkLst>
        </pc:spChg>
        <pc:spChg chg="mod">
          <ac:chgData name="Vik Verma" userId="658c3117-1579-4ad0-bc27-385c6f2212e9" providerId="ADAL" clId="{884E122A-9493-4B9D-A888-CA64B8E3236B}" dt="2020-09-13T11:59:40.954" v="167"/>
          <ac:spMkLst>
            <pc:docMk/>
            <pc:sldMk cId="3277751935" sldId="4404"/>
            <ac:spMk id="187" creationId="{317E50F6-2531-473B-A0A0-012800551216}"/>
          </ac:spMkLst>
        </pc:spChg>
        <pc:spChg chg="mod">
          <ac:chgData name="Vik Verma" userId="658c3117-1579-4ad0-bc27-385c6f2212e9" providerId="ADAL" clId="{884E122A-9493-4B9D-A888-CA64B8E3236B}" dt="2020-09-13T11:59:40.954" v="167"/>
          <ac:spMkLst>
            <pc:docMk/>
            <pc:sldMk cId="3277751935" sldId="4404"/>
            <ac:spMk id="190" creationId="{EDAF0D05-4A88-478E-BEC2-F7AAC724B082}"/>
          </ac:spMkLst>
        </pc:spChg>
        <pc:spChg chg="mod">
          <ac:chgData name="Vik Verma" userId="658c3117-1579-4ad0-bc27-385c6f2212e9" providerId="ADAL" clId="{884E122A-9493-4B9D-A888-CA64B8E3236B}" dt="2020-09-13T11:59:40.954" v="167"/>
          <ac:spMkLst>
            <pc:docMk/>
            <pc:sldMk cId="3277751935" sldId="4404"/>
            <ac:spMk id="191" creationId="{32740CCD-27E9-4673-A7F0-41D464D34B78}"/>
          </ac:spMkLst>
        </pc:spChg>
        <pc:spChg chg="mod">
          <ac:chgData name="Vik Verma" userId="658c3117-1579-4ad0-bc27-385c6f2212e9" providerId="ADAL" clId="{884E122A-9493-4B9D-A888-CA64B8E3236B}" dt="2020-09-13T11:59:40.954" v="167"/>
          <ac:spMkLst>
            <pc:docMk/>
            <pc:sldMk cId="3277751935" sldId="4404"/>
            <ac:spMk id="192" creationId="{6B834E32-1742-4DCD-9307-0416B9341508}"/>
          </ac:spMkLst>
        </pc:spChg>
        <pc:spChg chg="mod">
          <ac:chgData name="Vik Verma" userId="658c3117-1579-4ad0-bc27-385c6f2212e9" providerId="ADAL" clId="{884E122A-9493-4B9D-A888-CA64B8E3236B}" dt="2020-09-13T11:59:40.954" v="167"/>
          <ac:spMkLst>
            <pc:docMk/>
            <pc:sldMk cId="3277751935" sldId="4404"/>
            <ac:spMk id="196" creationId="{196862B4-BC0D-4BE1-8D9A-3CCC12CAC782}"/>
          </ac:spMkLst>
        </pc:spChg>
        <pc:spChg chg="mod">
          <ac:chgData name="Vik Verma" userId="658c3117-1579-4ad0-bc27-385c6f2212e9" providerId="ADAL" clId="{884E122A-9493-4B9D-A888-CA64B8E3236B}" dt="2020-09-13T11:59:40.954" v="167"/>
          <ac:spMkLst>
            <pc:docMk/>
            <pc:sldMk cId="3277751935" sldId="4404"/>
            <ac:spMk id="197" creationId="{579E14FD-B27E-430C-BE44-ABA885AB68E7}"/>
          </ac:spMkLst>
        </pc:spChg>
        <pc:spChg chg="mod">
          <ac:chgData name="Vik Verma" userId="658c3117-1579-4ad0-bc27-385c6f2212e9" providerId="ADAL" clId="{884E122A-9493-4B9D-A888-CA64B8E3236B}" dt="2020-09-13T11:59:40.954" v="167"/>
          <ac:spMkLst>
            <pc:docMk/>
            <pc:sldMk cId="3277751935" sldId="4404"/>
            <ac:spMk id="203" creationId="{10F5E2B8-12FC-4727-9501-AD4446DF6087}"/>
          </ac:spMkLst>
        </pc:spChg>
        <pc:spChg chg="mod">
          <ac:chgData name="Vik Verma" userId="658c3117-1579-4ad0-bc27-385c6f2212e9" providerId="ADAL" clId="{884E122A-9493-4B9D-A888-CA64B8E3236B}" dt="2020-09-13T11:59:40.954" v="167"/>
          <ac:spMkLst>
            <pc:docMk/>
            <pc:sldMk cId="3277751935" sldId="4404"/>
            <ac:spMk id="204" creationId="{FBDD397A-28FA-46A3-971D-FC43F5A3DB60}"/>
          </ac:spMkLst>
        </pc:spChg>
        <pc:spChg chg="mod">
          <ac:chgData name="Vik Verma" userId="658c3117-1579-4ad0-bc27-385c6f2212e9" providerId="ADAL" clId="{884E122A-9493-4B9D-A888-CA64B8E3236B}" dt="2020-09-13T11:59:40.954" v="167"/>
          <ac:spMkLst>
            <pc:docMk/>
            <pc:sldMk cId="3277751935" sldId="4404"/>
            <ac:spMk id="205" creationId="{C6236395-5CCE-4DB2-924E-A3740372741F}"/>
          </ac:spMkLst>
        </pc:spChg>
        <pc:spChg chg="mod">
          <ac:chgData name="Vik Verma" userId="658c3117-1579-4ad0-bc27-385c6f2212e9" providerId="ADAL" clId="{884E122A-9493-4B9D-A888-CA64B8E3236B}" dt="2020-09-13T11:59:40.954" v="167"/>
          <ac:spMkLst>
            <pc:docMk/>
            <pc:sldMk cId="3277751935" sldId="4404"/>
            <ac:spMk id="206" creationId="{02BE8475-7CD8-42B6-AB23-58D7026E28CB}"/>
          </ac:spMkLst>
        </pc:spChg>
        <pc:spChg chg="del mod topLvl">
          <ac:chgData name="Vik Verma" userId="658c3117-1579-4ad0-bc27-385c6f2212e9" providerId="ADAL" clId="{884E122A-9493-4B9D-A888-CA64B8E3236B}" dt="2020-09-13T11:59:58.165" v="171" actId="478"/>
          <ac:spMkLst>
            <pc:docMk/>
            <pc:sldMk cId="3277751935" sldId="4404"/>
            <ac:spMk id="209" creationId="{644B8989-6F9A-4B4E-9573-71C29DB10112}"/>
          </ac:spMkLst>
        </pc:spChg>
        <pc:spChg chg="mod topLvl">
          <ac:chgData name="Vik Verma" userId="658c3117-1579-4ad0-bc27-385c6f2212e9" providerId="ADAL" clId="{884E122A-9493-4B9D-A888-CA64B8E3236B}" dt="2020-09-13T13:12:56.158" v="1959" actId="1036"/>
          <ac:spMkLst>
            <pc:docMk/>
            <pc:sldMk cId="3277751935" sldId="4404"/>
            <ac:spMk id="219" creationId="{2EEC8D66-384C-460E-9FA2-3C9CF1993524}"/>
          </ac:spMkLst>
        </pc:spChg>
        <pc:spChg chg="mod">
          <ac:chgData name="Vik Verma" userId="658c3117-1579-4ad0-bc27-385c6f2212e9" providerId="ADAL" clId="{884E122A-9493-4B9D-A888-CA64B8E3236B}" dt="2020-09-13T11:59:40.954" v="167"/>
          <ac:spMkLst>
            <pc:docMk/>
            <pc:sldMk cId="3277751935" sldId="4404"/>
            <ac:spMk id="220" creationId="{C8662EFE-3105-4D0D-9A6C-052112AB445E}"/>
          </ac:spMkLst>
        </pc:spChg>
        <pc:spChg chg="mod">
          <ac:chgData name="Vik Verma" userId="658c3117-1579-4ad0-bc27-385c6f2212e9" providerId="ADAL" clId="{884E122A-9493-4B9D-A888-CA64B8E3236B}" dt="2020-09-13T11:59:40.954" v="167"/>
          <ac:spMkLst>
            <pc:docMk/>
            <pc:sldMk cId="3277751935" sldId="4404"/>
            <ac:spMk id="222" creationId="{6725C009-0D3A-455E-8376-35412D3D53A0}"/>
          </ac:spMkLst>
        </pc:spChg>
        <pc:spChg chg="mod">
          <ac:chgData name="Vik Verma" userId="658c3117-1579-4ad0-bc27-385c6f2212e9" providerId="ADAL" clId="{884E122A-9493-4B9D-A888-CA64B8E3236B}" dt="2020-09-13T11:59:40.954" v="167"/>
          <ac:spMkLst>
            <pc:docMk/>
            <pc:sldMk cId="3277751935" sldId="4404"/>
            <ac:spMk id="224" creationId="{27A7985B-460E-485D-9946-3883DFE25F76}"/>
          </ac:spMkLst>
        </pc:spChg>
        <pc:spChg chg="mod">
          <ac:chgData name="Vik Verma" userId="658c3117-1579-4ad0-bc27-385c6f2212e9" providerId="ADAL" clId="{884E122A-9493-4B9D-A888-CA64B8E3236B}" dt="2020-09-13T11:59:40.954" v="167"/>
          <ac:spMkLst>
            <pc:docMk/>
            <pc:sldMk cId="3277751935" sldId="4404"/>
            <ac:spMk id="226" creationId="{71D0C31C-BA23-49E5-A788-76F6BDEE9CA7}"/>
          </ac:spMkLst>
        </pc:spChg>
        <pc:spChg chg="mod">
          <ac:chgData name="Vik Verma" userId="658c3117-1579-4ad0-bc27-385c6f2212e9" providerId="ADAL" clId="{884E122A-9493-4B9D-A888-CA64B8E3236B}" dt="2020-09-13T11:59:40.954" v="167"/>
          <ac:spMkLst>
            <pc:docMk/>
            <pc:sldMk cId="3277751935" sldId="4404"/>
            <ac:spMk id="228" creationId="{E141D5D3-1FEE-41E3-981F-6B8D4CC9EEC9}"/>
          </ac:spMkLst>
        </pc:spChg>
        <pc:spChg chg="add mod ord">
          <ac:chgData name="Vik Verma" userId="658c3117-1579-4ad0-bc27-385c6f2212e9" providerId="ADAL" clId="{884E122A-9493-4B9D-A888-CA64B8E3236B}" dt="2020-09-13T13:12:56.158" v="1959" actId="1036"/>
          <ac:spMkLst>
            <pc:docMk/>
            <pc:sldMk cId="3277751935" sldId="4404"/>
            <ac:spMk id="233" creationId="{5B21A880-9D16-4BFB-8979-CF26469B7351}"/>
          </ac:spMkLst>
        </pc:spChg>
        <pc:spChg chg="del mod">
          <ac:chgData name="Vik Verma" userId="658c3117-1579-4ad0-bc27-385c6f2212e9" providerId="ADAL" clId="{884E122A-9493-4B9D-A888-CA64B8E3236B}" dt="2020-09-13T12:02:59.228" v="268" actId="478"/>
          <ac:spMkLst>
            <pc:docMk/>
            <pc:sldMk cId="3277751935" sldId="4404"/>
            <ac:spMk id="237" creationId="{12EEF50B-B402-487A-B596-120851303FA5}"/>
          </ac:spMkLst>
        </pc:spChg>
        <pc:spChg chg="del mod">
          <ac:chgData name="Vik Verma" userId="658c3117-1579-4ad0-bc27-385c6f2212e9" providerId="ADAL" clId="{884E122A-9493-4B9D-A888-CA64B8E3236B}" dt="2020-09-13T12:02:56.959" v="267" actId="478"/>
          <ac:spMkLst>
            <pc:docMk/>
            <pc:sldMk cId="3277751935" sldId="4404"/>
            <ac:spMk id="238" creationId="{E38891C5-0EFE-4512-BDDD-1A32F5056D0D}"/>
          </ac:spMkLst>
        </pc:spChg>
        <pc:spChg chg="del mod topLvl">
          <ac:chgData name="Vik Verma" userId="658c3117-1579-4ad0-bc27-385c6f2212e9" providerId="ADAL" clId="{884E122A-9493-4B9D-A888-CA64B8E3236B}" dt="2020-09-13T12:03:00.840" v="269" actId="478"/>
          <ac:spMkLst>
            <pc:docMk/>
            <pc:sldMk cId="3277751935" sldId="4404"/>
            <ac:spMk id="239" creationId="{7F776F4F-1B22-4EDA-8733-25C76CA185DB}"/>
          </ac:spMkLst>
        </pc:spChg>
        <pc:spChg chg="mod topLvl">
          <ac:chgData name="Vik Verma" userId="658c3117-1579-4ad0-bc27-385c6f2212e9" providerId="ADAL" clId="{884E122A-9493-4B9D-A888-CA64B8E3236B}" dt="2020-09-13T13:12:56.158" v="1959" actId="1036"/>
          <ac:spMkLst>
            <pc:docMk/>
            <pc:sldMk cId="3277751935" sldId="4404"/>
            <ac:spMk id="240" creationId="{771B1E07-29D7-4929-811A-0123771CFD8A}"/>
          </ac:spMkLst>
        </pc:spChg>
        <pc:spChg chg="add mod">
          <ac:chgData name="Vik Verma" userId="658c3117-1579-4ad0-bc27-385c6f2212e9" providerId="ADAL" clId="{884E122A-9493-4B9D-A888-CA64B8E3236B}" dt="2020-09-13T13:12:56.158" v="1959" actId="1036"/>
          <ac:spMkLst>
            <pc:docMk/>
            <pc:sldMk cId="3277751935" sldId="4404"/>
            <ac:spMk id="243" creationId="{64FFA0EB-E8B5-4DDB-AA7A-D66224F2CC43}"/>
          </ac:spMkLst>
        </pc:spChg>
        <pc:spChg chg="add mod topLvl">
          <ac:chgData name="Vik Verma" userId="658c3117-1579-4ad0-bc27-385c6f2212e9" providerId="ADAL" clId="{884E122A-9493-4B9D-A888-CA64B8E3236B}" dt="2020-09-13T13:12:56.158" v="1959" actId="1036"/>
          <ac:spMkLst>
            <pc:docMk/>
            <pc:sldMk cId="3277751935" sldId="4404"/>
            <ac:spMk id="247" creationId="{481B45B8-D7C3-4251-BD57-19992B1290CB}"/>
          </ac:spMkLst>
        </pc:spChg>
        <pc:spChg chg="add mod topLvl">
          <ac:chgData name="Vik Verma" userId="658c3117-1579-4ad0-bc27-385c6f2212e9" providerId="ADAL" clId="{884E122A-9493-4B9D-A888-CA64B8E3236B}" dt="2020-09-13T13:12:56.158" v="1959" actId="1036"/>
          <ac:spMkLst>
            <pc:docMk/>
            <pc:sldMk cId="3277751935" sldId="4404"/>
            <ac:spMk id="249" creationId="{15C49E63-B276-4783-937D-63A8AA57D4FB}"/>
          </ac:spMkLst>
        </pc:spChg>
        <pc:spChg chg="add mod topLvl">
          <ac:chgData name="Vik Verma" userId="658c3117-1579-4ad0-bc27-385c6f2212e9" providerId="ADAL" clId="{884E122A-9493-4B9D-A888-CA64B8E3236B}" dt="2020-09-13T13:12:56.158" v="1959" actId="1036"/>
          <ac:spMkLst>
            <pc:docMk/>
            <pc:sldMk cId="3277751935" sldId="4404"/>
            <ac:spMk id="251" creationId="{AFD29CFC-8852-4978-84E5-0E227A3A6EA0}"/>
          </ac:spMkLst>
        </pc:spChg>
        <pc:spChg chg="add mod topLvl">
          <ac:chgData name="Vik Verma" userId="658c3117-1579-4ad0-bc27-385c6f2212e9" providerId="ADAL" clId="{884E122A-9493-4B9D-A888-CA64B8E3236B}" dt="2020-09-13T13:12:56.158" v="1959" actId="1036"/>
          <ac:spMkLst>
            <pc:docMk/>
            <pc:sldMk cId="3277751935" sldId="4404"/>
            <ac:spMk id="253" creationId="{5DE206A6-561A-414C-974E-97EBF2969DD4}"/>
          </ac:spMkLst>
        </pc:spChg>
        <pc:spChg chg="add mod topLvl">
          <ac:chgData name="Vik Verma" userId="658c3117-1579-4ad0-bc27-385c6f2212e9" providerId="ADAL" clId="{884E122A-9493-4B9D-A888-CA64B8E3236B}" dt="2020-09-13T13:12:56.158" v="1959" actId="1036"/>
          <ac:spMkLst>
            <pc:docMk/>
            <pc:sldMk cId="3277751935" sldId="4404"/>
            <ac:spMk id="255" creationId="{812DF833-5DCC-464E-B7FF-CD9296377E2B}"/>
          </ac:spMkLst>
        </pc:spChg>
        <pc:spChg chg="add mod topLvl">
          <ac:chgData name="Vik Verma" userId="658c3117-1579-4ad0-bc27-385c6f2212e9" providerId="ADAL" clId="{884E122A-9493-4B9D-A888-CA64B8E3236B}" dt="2020-09-13T13:12:56.158" v="1959" actId="1036"/>
          <ac:spMkLst>
            <pc:docMk/>
            <pc:sldMk cId="3277751935" sldId="4404"/>
            <ac:spMk id="257" creationId="{71AC74C8-C6A3-4B44-BFF8-86F08EAAB0CA}"/>
          </ac:spMkLst>
        </pc:spChg>
        <pc:spChg chg="add mod topLvl">
          <ac:chgData name="Vik Verma" userId="658c3117-1579-4ad0-bc27-385c6f2212e9" providerId="ADAL" clId="{884E122A-9493-4B9D-A888-CA64B8E3236B}" dt="2020-09-13T13:12:56.158" v="1959" actId="1036"/>
          <ac:spMkLst>
            <pc:docMk/>
            <pc:sldMk cId="3277751935" sldId="4404"/>
            <ac:spMk id="259" creationId="{8EB063E9-A499-416B-BCF2-2B74718A6811}"/>
          </ac:spMkLst>
        </pc:spChg>
        <pc:spChg chg="add mod">
          <ac:chgData name="Vik Verma" userId="658c3117-1579-4ad0-bc27-385c6f2212e9" providerId="ADAL" clId="{884E122A-9493-4B9D-A888-CA64B8E3236B}" dt="2020-09-13T13:12:56.158" v="1959" actId="1036"/>
          <ac:spMkLst>
            <pc:docMk/>
            <pc:sldMk cId="3277751935" sldId="4404"/>
            <ac:spMk id="262" creationId="{474C6D7B-96C1-46F0-A102-79E83192112D}"/>
          </ac:spMkLst>
        </pc:spChg>
        <pc:spChg chg="add mod">
          <ac:chgData name="Vik Verma" userId="658c3117-1579-4ad0-bc27-385c6f2212e9" providerId="ADAL" clId="{884E122A-9493-4B9D-A888-CA64B8E3236B}" dt="2020-09-13T13:12:56.158" v="1959" actId="1036"/>
          <ac:spMkLst>
            <pc:docMk/>
            <pc:sldMk cId="3277751935" sldId="4404"/>
            <ac:spMk id="264" creationId="{7D274496-0E54-43AE-9A7F-673D73409205}"/>
          </ac:spMkLst>
        </pc:spChg>
        <pc:spChg chg="add mod">
          <ac:chgData name="Vik Verma" userId="658c3117-1579-4ad0-bc27-385c6f2212e9" providerId="ADAL" clId="{884E122A-9493-4B9D-A888-CA64B8E3236B}" dt="2020-09-13T13:12:56.158" v="1959" actId="1036"/>
          <ac:spMkLst>
            <pc:docMk/>
            <pc:sldMk cId="3277751935" sldId="4404"/>
            <ac:spMk id="266" creationId="{C58A291C-7D16-4086-9A99-0D14C77B40F0}"/>
          </ac:spMkLst>
        </pc:spChg>
        <pc:spChg chg="add mod">
          <ac:chgData name="Vik Verma" userId="658c3117-1579-4ad0-bc27-385c6f2212e9" providerId="ADAL" clId="{884E122A-9493-4B9D-A888-CA64B8E3236B}" dt="2020-09-13T13:12:56.158" v="1959" actId="1036"/>
          <ac:spMkLst>
            <pc:docMk/>
            <pc:sldMk cId="3277751935" sldId="4404"/>
            <ac:spMk id="268" creationId="{D28BAFF3-B910-4C43-A02A-79CDDF472CC9}"/>
          </ac:spMkLst>
        </pc:spChg>
        <pc:spChg chg="add mod">
          <ac:chgData name="Vik Verma" userId="658c3117-1579-4ad0-bc27-385c6f2212e9" providerId="ADAL" clId="{884E122A-9493-4B9D-A888-CA64B8E3236B}" dt="2020-09-13T13:12:56.158" v="1959" actId="1036"/>
          <ac:spMkLst>
            <pc:docMk/>
            <pc:sldMk cId="3277751935" sldId="4404"/>
            <ac:spMk id="274" creationId="{14ECBED7-3524-4A40-97BC-C16A4595C1BB}"/>
          </ac:spMkLst>
        </pc:spChg>
        <pc:spChg chg="add mod">
          <ac:chgData name="Vik Verma" userId="658c3117-1579-4ad0-bc27-385c6f2212e9" providerId="ADAL" clId="{884E122A-9493-4B9D-A888-CA64B8E3236B}" dt="2020-09-13T13:12:56.158" v="1959" actId="1036"/>
          <ac:spMkLst>
            <pc:docMk/>
            <pc:sldMk cId="3277751935" sldId="4404"/>
            <ac:spMk id="286" creationId="{8474CFC1-86C0-4345-9617-C5AD4DCB26E5}"/>
          </ac:spMkLst>
        </pc:spChg>
        <pc:spChg chg="add mod">
          <ac:chgData name="Vik Verma" userId="658c3117-1579-4ad0-bc27-385c6f2212e9" providerId="ADAL" clId="{884E122A-9493-4B9D-A888-CA64B8E3236B}" dt="2020-09-13T13:12:56.158" v="1959" actId="1036"/>
          <ac:spMkLst>
            <pc:docMk/>
            <pc:sldMk cId="3277751935" sldId="4404"/>
            <ac:spMk id="288" creationId="{4F89C16F-87A3-4C81-B534-E790B12A6114}"/>
          </ac:spMkLst>
        </pc:spChg>
        <pc:spChg chg="add mod">
          <ac:chgData name="Vik Verma" userId="658c3117-1579-4ad0-bc27-385c6f2212e9" providerId="ADAL" clId="{884E122A-9493-4B9D-A888-CA64B8E3236B}" dt="2020-09-13T13:12:56.158" v="1959" actId="1036"/>
          <ac:spMkLst>
            <pc:docMk/>
            <pc:sldMk cId="3277751935" sldId="4404"/>
            <ac:spMk id="290" creationId="{FA84FF72-312E-4192-A723-773F735C59D6}"/>
          </ac:spMkLst>
        </pc:spChg>
        <pc:spChg chg="add mod">
          <ac:chgData name="Vik Verma" userId="658c3117-1579-4ad0-bc27-385c6f2212e9" providerId="ADAL" clId="{884E122A-9493-4B9D-A888-CA64B8E3236B}" dt="2020-09-13T13:12:56.158" v="1959" actId="1036"/>
          <ac:spMkLst>
            <pc:docMk/>
            <pc:sldMk cId="3277751935" sldId="4404"/>
            <ac:spMk id="292" creationId="{55902A2C-4FDB-4B12-A4CD-98D04E7CA2B3}"/>
          </ac:spMkLst>
        </pc:spChg>
        <pc:spChg chg="add mod ord">
          <ac:chgData name="Vik Verma" userId="658c3117-1579-4ad0-bc27-385c6f2212e9" providerId="ADAL" clId="{884E122A-9493-4B9D-A888-CA64B8E3236B}" dt="2020-09-13T13:12:56.158" v="1959" actId="1036"/>
          <ac:spMkLst>
            <pc:docMk/>
            <pc:sldMk cId="3277751935" sldId="4404"/>
            <ac:spMk id="293" creationId="{A71A88C5-370B-4EB3-BB5D-EEE9A25E4F21}"/>
          </ac:spMkLst>
        </pc:spChg>
        <pc:spChg chg="add mod">
          <ac:chgData name="Vik Verma" userId="658c3117-1579-4ad0-bc27-385c6f2212e9" providerId="ADAL" clId="{884E122A-9493-4B9D-A888-CA64B8E3236B}" dt="2020-09-13T13:12:56.158" v="1959" actId="1036"/>
          <ac:spMkLst>
            <pc:docMk/>
            <pc:sldMk cId="3277751935" sldId="4404"/>
            <ac:spMk id="297" creationId="{89909A80-CF84-4B98-A9F5-C81910C81CC4}"/>
          </ac:spMkLst>
        </pc:spChg>
        <pc:spChg chg="add mod">
          <ac:chgData name="Vik Verma" userId="658c3117-1579-4ad0-bc27-385c6f2212e9" providerId="ADAL" clId="{884E122A-9493-4B9D-A888-CA64B8E3236B}" dt="2020-09-13T13:12:56.158" v="1959" actId="1036"/>
          <ac:spMkLst>
            <pc:docMk/>
            <pc:sldMk cId="3277751935" sldId="4404"/>
            <ac:spMk id="324" creationId="{FD0B9105-65B9-4825-BC7E-D7A2D5FF268C}"/>
          </ac:spMkLst>
        </pc:spChg>
        <pc:spChg chg="add mod">
          <ac:chgData name="Vik Verma" userId="658c3117-1579-4ad0-bc27-385c6f2212e9" providerId="ADAL" clId="{884E122A-9493-4B9D-A888-CA64B8E3236B}" dt="2020-09-13T13:12:56.158" v="1959" actId="1036"/>
          <ac:spMkLst>
            <pc:docMk/>
            <pc:sldMk cId="3277751935" sldId="4404"/>
            <ac:spMk id="326" creationId="{0DD2E6E5-0C6E-4DB0-8E0E-6FC8EA4F478E}"/>
          </ac:spMkLst>
        </pc:spChg>
        <pc:spChg chg="add mod">
          <ac:chgData name="Vik Verma" userId="658c3117-1579-4ad0-bc27-385c6f2212e9" providerId="ADAL" clId="{884E122A-9493-4B9D-A888-CA64B8E3236B}" dt="2020-09-13T13:12:56.158" v="1959" actId="1036"/>
          <ac:spMkLst>
            <pc:docMk/>
            <pc:sldMk cId="3277751935" sldId="4404"/>
            <ac:spMk id="327" creationId="{82C89756-75F3-49E4-80E3-0C0339643FB1}"/>
          </ac:spMkLst>
        </pc:spChg>
        <pc:spChg chg="add mod">
          <ac:chgData name="Vik Verma" userId="658c3117-1579-4ad0-bc27-385c6f2212e9" providerId="ADAL" clId="{884E122A-9493-4B9D-A888-CA64B8E3236B}" dt="2020-09-13T13:12:56.158" v="1959" actId="1036"/>
          <ac:spMkLst>
            <pc:docMk/>
            <pc:sldMk cId="3277751935" sldId="4404"/>
            <ac:spMk id="329" creationId="{1CFE848D-650B-4671-B0B3-6505FB3AC038}"/>
          </ac:spMkLst>
        </pc:spChg>
        <pc:spChg chg="add mod">
          <ac:chgData name="Vik Verma" userId="658c3117-1579-4ad0-bc27-385c6f2212e9" providerId="ADAL" clId="{884E122A-9493-4B9D-A888-CA64B8E3236B}" dt="2020-09-13T13:12:56.158" v="1959" actId="1036"/>
          <ac:spMkLst>
            <pc:docMk/>
            <pc:sldMk cId="3277751935" sldId="4404"/>
            <ac:spMk id="332" creationId="{473F8D0D-7F5A-4CEE-BD13-00CC7B0F5539}"/>
          </ac:spMkLst>
        </pc:spChg>
        <pc:spChg chg="add mod">
          <ac:chgData name="Vik Verma" userId="658c3117-1579-4ad0-bc27-385c6f2212e9" providerId="ADAL" clId="{884E122A-9493-4B9D-A888-CA64B8E3236B}" dt="2020-09-13T13:12:56.158" v="1959" actId="1036"/>
          <ac:spMkLst>
            <pc:docMk/>
            <pc:sldMk cId="3277751935" sldId="4404"/>
            <ac:spMk id="334" creationId="{9167A303-F006-496D-AD8B-6FC0CBCA4EEF}"/>
          </ac:spMkLst>
        </pc:spChg>
        <pc:spChg chg="add mod">
          <ac:chgData name="Vik Verma" userId="658c3117-1579-4ad0-bc27-385c6f2212e9" providerId="ADAL" clId="{884E122A-9493-4B9D-A888-CA64B8E3236B}" dt="2020-09-13T13:15:01.325" v="2024" actId="1076"/>
          <ac:spMkLst>
            <pc:docMk/>
            <pc:sldMk cId="3277751935" sldId="4404"/>
            <ac:spMk id="336" creationId="{F9F4741E-76C1-4760-AAF3-C4E4254AADD0}"/>
          </ac:spMkLst>
        </pc:spChg>
        <pc:grpChg chg="add del mod">
          <ac:chgData name="Vik Verma" userId="658c3117-1579-4ad0-bc27-385c6f2212e9" providerId="ADAL" clId="{884E122A-9493-4B9D-A888-CA64B8E3236B}" dt="2020-09-13T12:31:08.252" v="720" actId="165"/>
          <ac:grpSpMkLst>
            <pc:docMk/>
            <pc:sldMk cId="3277751935" sldId="4404"/>
            <ac:grpSpMk id="4" creationId="{F3A2D9EB-F138-4183-8C33-8F55164D5040}"/>
          </ac:grpSpMkLst>
        </pc:grpChg>
        <pc:grpChg chg="add mod ord">
          <ac:chgData name="Vik Verma" userId="658c3117-1579-4ad0-bc27-385c6f2212e9" providerId="ADAL" clId="{884E122A-9493-4B9D-A888-CA64B8E3236B}" dt="2020-09-13T13:12:56.158" v="1959" actId="1036"/>
          <ac:grpSpMkLst>
            <pc:docMk/>
            <pc:sldMk cId="3277751935" sldId="4404"/>
            <ac:grpSpMk id="13" creationId="{557F152F-A062-4865-AF40-191FB20B0857}"/>
          </ac:grpSpMkLst>
        </pc:grpChg>
        <pc:grpChg chg="add del mod">
          <ac:chgData name="Vik Verma" userId="658c3117-1579-4ad0-bc27-385c6f2212e9" providerId="ADAL" clId="{884E122A-9493-4B9D-A888-CA64B8E3236B}" dt="2020-09-13T12:57:27.669" v="1102" actId="478"/>
          <ac:grpSpMkLst>
            <pc:docMk/>
            <pc:sldMk cId="3277751935" sldId="4404"/>
            <ac:grpSpMk id="18" creationId="{0614A578-90E7-4584-933A-96AF34E850D7}"/>
          </ac:grpSpMkLst>
        </pc:grpChg>
        <pc:grpChg chg="add mod topLvl">
          <ac:chgData name="Vik Verma" userId="658c3117-1579-4ad0-bc27-385c6f2212e9" providerId="ADAL" clId="{884E122A-9493-4B9D-A888-CA64B8E3236B}" dt="2020-09-13T13:12:56.158" v="1959" actId="1036"/>
          <ac:grpSpMkLst>
            <pc:docMk/>
            <pc:sldMk cId="3277751935" sldId="4404"/>
            <ac:grpSpMk id="21" creationId="{2CB0842A-55C9-48DA-B3A7-287220C838E2}"/>
          </ac:grpSpMkLst>
        </pc:grpChg>
        <pc:grpChg chg="mod">
          <ac:chgData name="Vik Verma" userId="658c3117-1579-4ad0-bc27-385c6f2212e9" providerId="ADAL" clId="{884E122A-9493-4B9D-A888-CA64B8E3236B}" dt="2020-09-13T13:12:56.158" v="1959" actId="1036"/>
          <ac:grpSpMkLst>
            <pc:docMk/>
            <pc:sldMk cId="3277751935" sldId="4404"/>
            <ac:grpSpMk id="23" creationId="{EB311237-BF82-422E-893B-48EBD95BD04F}"/>
          </ac:grpSpMkLst>
        </pc:grpChg>
        <pc:grpChg chg="mod">
          <ac:chgData name="Vik Verma" userId="658c3117-1579-4ad0-bc27-385c6f2212e9" providerId="ADAL" clId="{884E122A-9493-4B9D-A888-CA64B8E3236B}" dt="2020-09-13T13:12:56.158" v="1959" actId="1036"/>
          <ac:grpSpMkLst>
            <pc:docMk/>
            <pc:sldMk cId="3277751935" sldId="4404"/>
            <ac:grpSpMk id="25" creationId="{E025E602-B622-4553-AF02-018E661261D9}"/>
          </ac:grpSpMkLst>
        </pc:grpChg>
        <pc:grpChg chg="add mod topLvl">
          <ac:chgData name="Vik Verma" userId="658c3117-1579-4ad0-bc27-385c6f2212e9" providerId="ADAL" clId="{884E122A-9493-4B9D-A888-CA64B8E3236B}" dt="2020-09-13T13:12:56.158" v="1959" actId="1036"/>
          <ac:grpSpMkLst>
            <pc:docMk/>
            <pc:sldMk cId="3277751935" sldId="4404"/>
            <ac:grpSpMk id="28" creationId="{BE9B3339-40E8-4026-92AF-A616EDC0B89B}"/>
          </ac:grpSpMkLst>
        </pc:grpChg>
        <pc:grpChg chg="mod">
          <ac:chgData name="Vik Verma" userId="658c3117-1579-4ad0-bc27-385c6f2212e9" providerId="ADAL" clId="{884E122A-9493-4B9D-A888-CA64B8E3236B}" dt="2020-09-13T13:12:56.158" v="1959" actId="1036"/>
          <ac:grpSpMkLst>
            <pc:docMk/>
            <pc:sldMk cId="3277751935" sldId="4404"/>
            <ac:grpSpMk id="31" creationId="{64058DA2-0B2E-4ECB-9D7C-C9CAEE174194}"/>
          </ac:grpSpMkLst>
        </pc:grpChg>
        <pc:grpChg chg="add mod topLvl">
          <ac:chgData name="Vik Verma" userId="658c3117-1579-4ad0-bc27-385c6f2212e9" providerId="ADAL" clId="{884E122A-9493-4B9D-A888-CA64B8E3236B}" dt="2020-09-13T13:12:56.158" v="1959" actId="1036"/>
          <ac:grpSpMkLst>
            <pc:docMk/>
            <pc:sldMk cId="3277751935" sldId="4404"/>
            <ac:grpSpMk id="36" creationId="{7D544FA2-32DF-40B6-B912-804101F8234B}"/>
          </ac:grpSpMkLst>
        </pc:grpChg>
        <pc:grpChg chg="mod">
          <ac:chgData name="Vik Verma" userId="658c3117-1579-4ad0-bc27-385c6f2212e9" providerId="ADAL" clId="{884E122A-9493-4B9D-A888-CA64B8E3236B}" dt="2020-09-13T13:12:56.158" v="1959" actId="1036"/>
          <ac:grpSpMkLst>
            <pc:docMk/>
            <pc:sldMk cId="3277751935" sldId="4404"/>
            <ac:grpSpMk id="38" creationId="{412F828F-A177-4B16-81B3-04CF9DDD667C}"/>
          </ac:grpSpMkLst>
        </pc:grpChg>
        <pc:grpChg chg="add mod topLvl">
          <ac:chgData name="Vik Verma" userId="658c3117-1579-4ad0-bc27-385c6f2212e9" providerId="ADAL" clId="{884E122A-9493-4B9D-A888-CA64B8E3236B}" dt="2020-09-13T13:12:56.158" v="1959" actId="1036"/>
          <ac:grpSpMkLst>
            <pc:docMk/>
            <pc:sldMk cId="3277751935" sldId="4404"/>
            <ac:grpSpMk id="43" creationId="{608E60E7-CA08-4CE9-BD09-100CBA00F3E5}"/>
          </ac:grpSpMkLst>
        </pc:grpChg>
        <pc:grpChg chg="mod">
          <ac:chgData name="Vik Verma" userId="658c3117-1579-4ad0-bc27-385c6f2212e9" providerId="ADAL" clId="{884E122A-9493-4B9D-A888-CA64B8E3236B}" dt="2020-09-13T13:12:56.158" v="1959" actId="1036"/>
          <ac:grpSpMkLst>
            <pc:docMk/>
            <pc:sldMk cId="3277751935" sldId="4404"/>
            <ac:grpSpMk id="45" creationId="{3565BAF0-7474-43BB-A4D7-349ADDAF41AB}"/>
          </ac:grpSpMkLst>
        </pc:grpChg>
        <pc:grpChg chg="add del mod">
          <ac:chgData name="Vik Verma" userId="658c3117-1579-4ad0-bc27-385c6f2212e9" providerId="ADAL" clId="{884E122A-9493-4B9D-A888-CA64B8E3236B}" dt="2020-09-13T11:54:21.412" v="121" actId="478"/>
          <ac:grpSpMkLst>
            <pc:docMk/>
            <pc:sldMk cId="3277751935" sldId="4404"/>
            <ac:grpSpMk id="67" creationId="{06F73BF6-3E7F-4E87-A1D7-0F9F75526C51}"/>
          </ac:grpSpMkLst>
        </pc:grpChg>
        <pc:grpChg chg="mod">
          <ac:chgData name="Vik Verma" userId="658c3117-1579-4ad0-bc27-385c6f2212e9" providerId="ADAL" clId="{884E122A-9493-4B9D-A888-CA64B8E3236B}" dt="2020-09-13T11:54:13.246" v="119"/>
          <ac:grpSpMkLst>
            <pc:docMk/>
            <pc:sldMk cId="3277751935" sldId="4404"/>
            <ac:grpSpMk id="70" creationId="{D49726FB-1E29-47A7-9C84-7AC8845BA637}"/>
          </ac:grpSpMkLst>
        </pc:grpChg>
        <pc:grpChg chg="add del mod">
          <ac:chgData name="Vik Verma" userId="658c3117-1579-4ad0-bc27-385c6f2212e9" providerId="ADAL" clId="{884E122A-9493-4B9D-A888-CA64B8E3236B}" dt="2020-09-13T11:54:22.269" v="122" actId="478"/>
          <ac:grpSpMkLst>
            <pc:docMk/>
            <pc:sldMk cId="3277751935" sldId="4404"/>
            <ac:grpSpMk id="75" creationId="{284D3593-B36E-49AB-82E0-AD84DAFC655D}"/>
          </ac:grpSpMkLst>
        </pc:grpChg>
        <pc:grpChg chg="add del mod">
          <ac:chgData name="Vik Verma" userId="658c3117-1579-4ad0-bc27-385c6f2212e9" providerId="ADAL" clId="{884E122A-9493-4B9D-A888-CA64B8E3236B}" dt="2020-09-13T11:54:23.433" v="123" actId="478"/>
          <ac:grpSpMkLst>
            <pc:docMk/>
            <pc:sldMk cId="3277751935" sldId="4404"/>
            <ac:grpSpMk id="79" creationId="{55A8AB4D-2A0E-4AEA-B26A-ACBF5484B292}"/>
          </ac:grpSpMkLst>
        </pc:grpChg>
        <pc:grpChg chg="mod">
          <ac:chgData name="Vik Verma" userId="658c3117-1579-4ad0-bc27-385c6f2212e9" providerId="ADAL" clId="{884E122A-9493-4B9D-A888-CA64B8E3236B}" dt="2020-09-13T11:54:13.246" v="119"/>
          <ac:grpSpMkLst>
            <pc:docMk/>
            <pc:sldMk cId="3277751935" sldId="4404"/>
            <ac:grpSpMk id="81" creationId="{5CAD259E-564F-4B52-8E95-E59311676EC4}"/>
          </ac:grpSpMkLst>
        </pc:grpChg>
        <pc:grpChg chg="mod">
          <ac:chgData name="Vik Verma" userId="658c3117-1579-4ad0-bc27-385c6f2212e9" providerId="ADAL" clId="{884E122A-9493-4B9D-A888-CA64B8E3236B}" dt="2020-09-13T11:54:13.246" v="119"/>
          <ac:grpSpMkLst>
            <pc:docMk/>
            <pc:sldMk cId="3277751935" sldId="4404"/>
            <ac:grpSpMk id="83" creationId="{7B7DF245-F8EE-497C-AAF7-4E7012F374E9}"/>
          </ac:grpSpMkLst>
        </pc:grpChg>
        <pc:grpChg chg="add del mod">
          <ac:chgData name="Vik Verma" userId="658c3117-1579-4ad0-bc27-385c6f2212e9" providerId="ADAL" clId="{884E122A-9493-4B9D-A888-CA64B8E3236B}" dt="2020-09-13T11:54:48.170" v="127" actId="165"/>
          <ac:grpSpMkLst>
            <pc:docMk/>
            <pc:sldMk cId="3277751935" sldId="4404"/>
            <ac:grpSpMk id="86" creationId="{1943415C-87EC-4DDD-A8B6-48610B7239D4}"/>
          </ac:grpSpMkLst>
        </pc:grpChg>
        <pc:grpChg chg="mod ord topLvl">
          <ac:chgData name="Vik Verma" userId="658c3117-1579-4ad0-bc27-385c6f2212e9" providerId="ADAL" clId="{884E122A-9493-4B9D-A888-CA64B8E3236B}" dt="2020-09-13T13:12:56.158" v="1959" actId="1036"/>
          <ac:grpSpMkLst>
            <pc:docMk/>
            <pc:sldMk cId="3277751935" sldId="4404"/>
            <ac:grpSpMk id="87" creationId="{4BA016FD-25E5-4C32-B391-314BF60EE592}"/>
          </ac:grpSpMkLst>
        </pc:grpChg>
        <pc:grpChg chg="del mod topLvl">
          <ac:chgData name="Vik Verma" userId="658c3117-1579-4ad0-bc27-385c6f2212e9" providerId="ADAL" clId="{884E122A-9493-4B9D-A888-CA64B8E3236B}" dt="2020-09-13T11:54:51.647" v="128" actId="478"/>
          <ac:grpSpMkLst>
            <pc:docMk/>
            <pc:sldMk cId="3277751935" sldId="4404"/>
            <ac:grpSpMk id="89" creationId="{26F26170-5A6E-484A-B2EC-28F268D5A51D}"/>
          </ac:grpSpMkLst>
        </pc:grpChg>
        <pc:grpChg chg="del mod topLvl">
          <ac:chgData name="Vik Verma" userId="658c3117-1579-4ad0-bc27-385c6f2212e9" providerId="ADAL" clId="{884E122A-9493-4B9D-A888-CA64B8E3236B}" dt="2020-09-13T11:54:51.647" v="128" actId="478"/>
          <ac:grpSpMkLst>
            <pc:docMk/>
            <pc:sldMk cId="3277751935" sldId="4404"/>
            <ac:grpSpMk id="92" creationId="{5E5C5C48-0950-4E24-B7E3-3FE3B34490AD}"/>
          </ac:grpSpMkLst>
        </pc:grpChg>
        <pc:grpChg chg="del mod topLvl">
          <ac:chgData name="Vik Verma" userId="658c3117-1579-4ad0-bc27-385c6f2212e9" providerId="ADAL" clId="{884E122A-9493-4B9D-A888-CA64B8E3236B}" dt="2020-09-13T11:54:51.647" v="128" actId="478"/>
          <ac:grpSpMkLst>
            <pc:docMk/>
            <pc:sldMk cId="3277751935" sldId="4404"/>
            <ac:grpSpMk id="93" creationId="{EF8C75F5-BF3E-40D4-B7E2-550EECA7E774}"/>
          </ac:grpSpMkLst>
        </pc:grpChg>
        <pc:grpChg chg="del mod topLvl">
          <ac:chgData name="Vik Verma" userId="658c3117-1579-4ad0-bc27-385c6f2212e9" providerId="ADAL" clId="{884E122A-9493-4B9D-A888-CA64B8E3236B}" dt="2020-09-13T11:54:51.647" v="128" actId="478"/>
          <ac:grpSpMkLst>
            <pc:docMk/>
            <pc:sldMk cId="3277751935" sldId="4404"/>
            <ac:grpSpMk id="94" creationId="{0B519026-49D5-4128-BB87-65ACE5BD27C1}"/>
          </ac:grpSpMkLst>
        </pc:grpChg>
        <pc:grpChg chg="del mod topLvl">
          <ac:chgData name="Vik Verma" userId="658c3117-1579-4ad0-bc27-385c6f2212e9" providerId="ADAL" clId="{884E122A-9493-4B9D-A888-CA64B8E3236B}" dt="2020-09-13T11:54:51.647" v="128" actId="478"/>
          <ac:grpSpMkLst>
            <pc:docMk/>
            <pc:sldMk cId="3277751935" sldId="4404"/>
            <ac:grpSpMk id="95" creationId="{DC123D4D-DF68-44AA-95FC-26D178E88C63}"/>
          </ac:grpSpMkLst>
        </pc:grpChg>
        <pc:grpChg chg="del mod topLvl">
          <ac:chgData name="Vik Verma" userId="658c3117-1579-4ad0-bc27-385c6f2212e9" providerId="ADAL" clId="{884E122A-9493-4B9D-A888-CA64B8E3236B}" dt="2020-09-13T11:54:51.647" v="128" actId="478"/>
          <ac:grpSpMkLst>
            <pc:docMk/>
            <pc:sldMk cId="3277751935" sldId="4404"/>
            <ac:grpSpMk id="96" creationId="{E34B29FC-E6F7-427C-A96E-F068F1514EB9}"/>
          </ac:grpSpMkLst>
        </pc:grpChg>
        <pc:grpChg chg="del mod topLvl">
          <ac:chgData name="Vik Verma" userId="658c3117-1579-4ad0-bc27-385c6f2212e9" providerId="ADAL" clId="{884E122A-9493-4B9D-A888-CA64B8E3236B}" dt="2020-09-13T11:54:51.647" v="128" actId="478"/>
          <ac:grpSpMkLst>
            <pc:docMk/>
            <pc:sldMk cId="3277751935" sldId="4404"/>
            <ac:grpSpMk id="97" creationId="{74E68DA2-A437-414C-94BD-A4774AD4EF31}"/>
          </ac:grpSpMkLst>
        </pc:grpChg>
        <pc:grpChg chg="del mod topLvl">
          <ac:chgData name="Vik Verma" userId="658c3117-1579-4ad0-bc27-385c6f2212e9" providerId="ADAL" clId="{884E122A-9493-4B9D-A888-CA64B8E3236B}" dt="2020-09-13T11:54:51.647" v="128" actId="478"/>
          <ac:grpSpMkLst>
            <pc:docMk/>
            <pc:sldMk cId="3277751935" sldId="4404"/>
            <ac:grpSpMk id="103" creationId="{25484C1D-D6BF-42D9-9B8D-1AF3D81C7F5C}"/>
          </ac:grpSpMkLst>
        </pc:grpChg>
        <pc:grpChg chg="mod">
          <ac:chgData name="Vik Verma" userId="658c3117-1579-4ad0-bc27-385c6f2212e9" providerId="ADAL" clId="{884E122A-9493-4B9D-A888-CA64B8E3236B}" dt="2020-09-13T11:54:13.246" v="119"/>
          <ac:grpSpMkLst>
            <pc:docMk/>
            <pc:sldMk cId="3277751935" sldId="4404"/>
            <ac:grpSpMk id="106" creationId="{E3518C04-FAF9-45AC-AACB-880BBD1A9DEF}"/>
          </ac:grpSpMkLst>
        </pc:grpChg>
        <pc:grpChg chg="mod">
          <ac:chgData name="Vik Verma" userId="658c3117-1579-4ad0-bc27-385c6f2212e9" providerId="ADAL" clId="{884E122A-9493-4B9D-A888-CA64B8E3236B}" dt="2020-09-13T11:54:13.246" v="119"/>
          <ac:grpSpMkLst>
            <pc:docMk/>
            <pc:sldMk cId="3277751935" sldId="4404"/>
            <ac:grpSpMk id="116" creationId="{BB34A50E-D91D-4E42-B17F-247A0B877FE3}"/>
          </ac:grpSpMkLst>
        </pc:grpChg>
        <pc:grpChg chg="mod">
          <ac:chgData name="Vik Verma" userId="658c3117-1579-4ad0-bc27-385c6f2212e9" providerId="ADAL" clId="{884E122A-9493-4B9D-A888-CA64B8E3236B}" dt="2020-09-13T11:54:13.246" v="119"/>
          <ac:grpSpMkLst>
            <pc:docMk/>
            <pc:sldMk cId="3277751935" sldId="4404"/>
            <ac:grpSpMk id="128" creationId="{E80A7C14-5AB7-42F0-91C5-526C97A56005}"/>
          </ac:grpSpMkLst>
        </pc:grpChg>
        <pc:grpChg chg="mod">
          <ac:chgData name="Vik Verma" userId="658c3117-1579-4ad0-bc27-385c6f2212e9" providerId="ADAL" clId="{884E122A-9493-4B9D-A888-CA64B8E3236B}" dt="2020-09-13T11:54:13.246" v="119"/>
          <ac:grpSpMkLst>
            <pc:docMk/>
            <pc:sldMk cId="3277751935" sldId="4404"/>
            <ac:grpSpMk id="134" creationId="{56FBE586-DEBC-4C2B-A8B3-CF87553FF4BB}"/>
          </ac:grpSpMkLst>
        </pc:grpChg>
        <pc:grpChg chg="mod">
          <ac:chgData name="Vik Verma" userId="658c3117-1579-4ad0-bc27-385c6f2212e9" providerId="ADAL" clId="{884E122A-9493-4B9D-A888-CA64B8E3236B}" dt="2020-09-13T11:54:13.246" v="119"/>
          <ac:grpSpMkLst>
            <pc:docMk/>
            <pc:sldMk cId="3277751935" sldId="4404"/>
            <ac:grpSpMk id="136" creationId="{AE6DE072-F0C2-463B-B013-4372D8550BA3}"/>
          </ac:grpSpMkLst>
        </pc:grpChg>
        <pc:grpChg chg="add del mod">
          <ac:chgData name="Vik Verma" userId="658c3117-1579-4ad0-bc27-385c6f2212e9" providerId="ADAL" clId="{884E122A-9493-4B9D-A888-CA64B8E3236B}" dt="2020-09-13T11:57:20.107" v="155" actId="165"/>
          <ac:grpSpMkLst>
            <pc:docMk/>
            <pc:sldMk cId="3277751935" sldId="4404"/>
            <ac:grpSpMk id="148" creationId="{15FAECB4-3B07-4F64-AD82-A648789C4286}"/>
          </ac:grpSpMkLst>
        </pc:grpChg>
        <pc:grpChg chg="add del mod">
          <ac:chgData name="Vik Verma" userId="658c3117-1579-4ad0-bc27-385c6f2212e9" providerId="ADAL" clId="{884E122A-9493-4B9D-A888-CA64B8E3236B}" dt="2020-09-13T11:56:56.557" v="144" actId="165"/>
          <ac:grpSpMkLst>
            <pc:docMk/>
            <pc:sldMk cId="3277751935" sldId="4404"/>
            <ac:grpSpMk id="150" creationId="{CEC1F752-8A61-4A53-B91E-2FB3FB47A2D7}"/>
          </ac:grpSpMkLst>
        </pc:grpChg>
        <pc:grpChg chg="add mod topLvl">
          <ac:chgData name="Vik Verma" userId="658c3117-1579-4ad0-bc27-385c6f2212e9" providerId="ADAL" clId="{884E122A-9493-4B9D-A888-CA64B8E3236B}" dt="2020-09-13T13:12:56.158" v="1959" actId="1036"/>
          <ac:grpSpMkLst>
            <pc:docMk/>
            <pc:sldMk cId="3277751935" sldId="4404"/>
            <ac:grpSpMk id="153" creationId="{8B798684-4D75-48EC-B65C-FB0C3D97A6CC}"/>
          </ac:grpSpMkLst>
        </pc:grpChg>
        <pc:grpChg chg="add del mod">
          <ac:chgData name="Vik Verma" userId="658c3117-1579-4ad0-bc27-385c6f2212e9" providerId="ADAL" clId="{884E122A-9493-4B9D-A888-CA64B8E3236B}" dt="2020-09-13T11:59:39.930" v="166" actId="478"/>
          <ac:grpSpMkLst>
            <pc:docMk/>
            <pc:sldMk cId="3277751935" sldId="4404"/>
            <ac:grpSpMk id="154" creationId="{BC0C1473-16F1-4B96-8F37-DD359A6B5860}"/>
          </ac:grpSpMkLst>
        </pc:grpChg>
        <pc:grpChg chg="mod">
          <ac:chgData name="Vik Verma" userId="658c3117-1579-4ad0-bc27-385c6f2212e9" providerId="ADAL" clId="{884E122A-9493-4B9D-A888-CA64B8E3236B}" dt="2020-09-13T11:58:03.537" v="163"/>
          <ac:grpSpMkLst>
            <pc:docMk/>
            <pc:sldMk cId="3277751935" sldId="4404"/>
            <ac:grpSpMk id="161" creationId="{87070D65-9A65-4B97-99BC-358533985057}"/>
          </ac:grpSpMkLst>
        </pc:grpChg>
        <pc:grpChg chg="mod">
          <ac:chgData name="Vik Verma" userId="658c3117-1579-4ad0-bc27-385c6f2212e9" providerId="ADAL" clId="{884E122A-9493-4B9D-A888-CA64B8E3236B}" dt="2020-09-13T11:58:03.537" v="163"/>
          <ac:grpSpMkLst>
            <pc:docMk/>
            <pc:sldMk cId="3277751935" sldId="4404"/>
            <ac:grpSpMk id="168" creationId="{7E53EE76-3E90-4D27-9228-1957DECFB95C}"/>
          </ac:grpSpMkLst>
        </pc:grpChg>
        <pc:grpChg chg="add del mod">
          <ac:chgData name="Vik Verma" userId="658c3117-1579-4ad0-bc27-385c6f2212e9" providerId="ADAL" clId="{884E122A-9493-4B9D-A888-CA64B8E3236B}" dt="2020-09-13T12:01:47.733" v="259" actId="478"/>
          <ac:grpSpMkLst>
            <pc:docMk/>
            <pc:sldMk cId="3277751935" sldId="4404"/>
            <ac:grpSpMk id="181" creationId="{5B1368F7-82E3-404C-AEF2-F6647FCCEBA5}"/>
          </ac:grpSpMkLst>
        </pc:grpChg>
        <pc:grpChg chg="mod">
          <ac:chgData name="Vik Verma" userId="658c3117-1579-4ad0-bc27-385c6f2212e9" providerId="ADAL" clId="{884E122A-9493-4B9D-A888-CA64B8E3236B}" dt="2020-09-13T11:59:40.954" v="167"/>
          <ac:grpSpMkLst>
            <pc:docMk/>
            <pc:sldMk cId="3277751935" sldId="4404"/>
            <ac:grpSpMk id="188" creationId="{5D50EEFA-E627-4B19-9BF8-2D71E0B1F532}"/>
          </ac:grpSpMkLst>
        </pc:grpChg>
        <pc:grpChg chg="mod">
          <ac:chgData name="Vik Verma" userId="658c3117-1579-4ad0-bc27-385c6f2212e9" providerId="ADAL" clId="{884E122A-9493-4B9D-A888-CA64B8E3236B}" dt="2020-09-13T11:59:40.954" v="167"/>
          <ac:grpSpMkLst>
            <pc:docMk/>
            <pc:sldMk cId="3277751935" sldId="4404"/>
            <ac:grpSpMk id="195" creationId="{B95101A9-F6BD-43F5-8241-949AF304BB85}"/>
          </ac:grpSpMkLst>
        </pc:grpChg>
        <pc:grpChg chg="add del mod">
          <ac:chgData name="Vik Verma" userId="658c3117-1579-4ad0-bc27-385c6f2212e9" providerId="ADAL" clId="{884E122A-9493-4B9D-A888-CA64B8E3236B}" dt="2020-09-13T11:59:50.427" v="170" actId="165"/>
          <ac:grpSpMkLst>
            <pc:docMk/>
            <pc:sldMk cId="3277751935" sldId="4404"/>
            <ac:grpSpMk id="208" creationId="{8B4EC75F-285E-4D39-BD8E-324F473772EC}"/>
          </ac:grpSpMkLst>
        </pc:grpChg>
        <pc:grpChg chg="del mod">
          <ac:chgData name="Vik Verma" userId="658c3117-1579-4ad0-bc27-385c6f2212e9" providerId="ADAL" clId="{884E122A-9493-4B9D-A888-CA64B8E3236B}" dt="2020-09-13T11:59:47.405" v="169" actId="478"/>
          <ac:grpSpMkLst>
            <pc:docMk/>
            <pc:sldMk cId="3277751935" sldId="4404"/>
            <ac:grpSpMk id="211" creationId="{F1DD0858-6545-41D1-8DE7-35DC7748F81C}"/>
          </ac:grpSpMkLst>
        </pc:grpChg>
        <pc:grpChg chg="del mod topLvl">
          <ac:chgData name="Vik Verma" userId="658c3117-1579-4ad0-bc27-385c6f2212e9" providerId="ADAL" clId="{884E122A-9493-4B9D-A888-CA64B8E3236B}" dt="2020-09-13T12:00:02.242" v="173" actId="165"/>
          <ac:grpSpMkLst>
            <pc:docMk/>
            <pc:sldMk cId="3277751935" sldId="4404"/>
            <ac:grpSpMk id="212" creationId="{2DB9E1AC-1C28-4D9C-AFBA-8F824F2E5BE9}"/>
          </ac:grpSpMkLst>
        </pc:grpChg>
        <pc:grpChg chg="del mod topLvl">
          <ac:chgData name="Vik Verma" userId="658c3117-1579-4ad0-bc27-385c6f2212e9" providerId="ADAL" clId="{884E122A-9493-4B9D-A888-CA64B8E3236B}" dt="2020-09-13T12:00:15.507" v="175" actId="478"/>
          <ac:grpSpMkLst>
            <pc:docMk/>
            <pc:sldMk cId="3277751935" sldId="4404"/>
            <ac:grpSpMk id="214" creationId="{61157E91-AA19-4ECC-9B15-03026573880F}"/>
          </ac:grpSpMkLst>
        </pc:grpChg>
        <pc:grpChg chg="del mod topLvl">
          <ac:chgData name="Vik Verma" userId="658c3117-1579-4ad0-bc27-385c6f2212e9" providerId="ADAL" clId="{884E122A-9493-4B9D-A888-CA64B8E3236B}" dt="2020-09-13T12:00:15.507" v="175" actId="478"/>
          <ac:grpSpMkLst>
            <pc:docMk/>
            <pc:sldMk cId="3277751935" sldId="4404"/>
            <ac:grpSpMk id="215" creationId="{3D1927BE-D7CF-465F-862E-38352A84F7CB}"/>
          </ac:grpSpMkLst>
        </pc:grpChg>
        <pc:grpChg chg="del mod topLvl">
          <ac:chgData name="Vik Verma" userId="658c3117-1579-4ad0-bc27-385c6f2212e9" providerId="ADAL" clId="{884E122A-9493-4B9D-A888-CA64B8E3236B}" dt="2020-09-13T12:00:08.449" v="174" actId="478"/>
          <ac:grpSpMkLst>
            <pc:docMk/>
            <pc:sldMk cId="3277751935" sldId="4404"/>
            <ac:grpSpMk id="216" creationId="{685DE9E3-80A4-4F7A-AE72-456C1DC28615}"/>
          </ac:grpSpMkLst>
        </pc:grpChg>
        <pc:grpChg chg="del mod topLvl">
          <ac:chgData name="Vik Verma" userId="658c3117-1579-4ad0-bc27-385c6f2212e9" providerId="ADAL" clId="{884E122A-9493-4B9D-A888-CA64B8E3236B}" dt="2020-09-13T12:00:08.449" v="174" actId="478"/>
          <ac:grpSpMkLst>
            <pc:docMk/>
            <pc:sldMk cId="3277751935" sldId="4404"/>
            <ac:grpSpMk id="217" creationId="{9AA3B2A2-F2A1-496B-8A87-FA4D694A0AAC}"/>
          </ac:grpSpMkLst>
        </pc:grpChg>
        <pc:grpChg chg="del mod topLvl">
          <ac:chgData name="Vik Verma" userId="658c3117-1579-4ad0-bc27-385c6f2212e9" providerId="ADAL" clId="{884E122A-9493-4B9D-A888-CA64B8E3236B}" dt="2020-09-13T12:00:08.449" v="174" actId="478"/>
          <ac:grpSpMkLst>
            <pc:docMk/>
            <pc:sldMk cId="3277751935" sldId="4404"/>
            <ac:grpSpMk id="218" creationId="{FDBA085D-E0DA-415F-BB6C-84BB00611EBF}"/>
          </ac:grpSpMkLst>
        </pc:grpChg>
        <pc:grpChg chg="add mod ord">
          <ac:chgData name="Vik Verma" userId="658c3117-1579-4ad0-bc27-385c6f2212e9" providerId="ADAL" clId="{884E122A-9493-4B9D-A888-CA64B8E3236B}" dt="2020-09-13T13:12:56.158" v="1959" actId="1036"/>
          <ac:grpSpMkLst>
            <pc:docMk/>
            <pc:sldMk cId="3277751935" sldId="4404"/>
            <ac:grpSpMk id="232" creationId="{3D762AD2-B495-40CE-B77D-A299ED04F5FE}"/>
          </ac:grpSpMkLst>
        </pc:grpChg>
        <pc:grpChg chg="add del mod">
          <ac:chgData name="Vik Verma" userId="658c3117-1579-4ad0-bc27-385c6f2212e9" providerId="ADAL" clId="{884E122A-9493-4B9D-A888-CA64B8E3236B}" dt="2020-09-13T12:03:00.840" v="269" actId="478"/>
          <ac:grpSpMkLst>
            <pc:docMk/>
            <pc:sldMk cId="3277751935" sldId="4404"/>
            <ac:grpSpMk id="234" creationId="{3E8574F5-5D5B-4BE5-A13A-0481BAFD65AD}"/>
          </ac:grpSpMkLst>
        </pc:grpChg>
        <pc:grpChg chg="del mod topLvl">
          <ac:chgData name="Vik Verma" userId="658c3117-1579-4ad0-bc27-385c6f2212e9" providerId="ADAL" clId="{884E122A-9493-4B9D-A888-CA64B8E3236B}" dt="2020-09-13T12:04:40.535" v="292" actId="165"/>
          <ac:grpSpMkLst>
            <pc:docMk/>
            <pc:sldMk cId="3277751935" sldId="4404"/>
            <ac:grpSpMk id="235" creationId="{6F3DA82C-475B-493E-8FB9-B8428BCD9C98}"/>
          </ac:grpSpMkLst>
        </pc:grpChg>
        <pc:grpChg chg="del mod">
          <ac:chgData name="Vik Verma" userId="658c3117-1579-4ad0-bc27-385c6f2212e9" providerId="ADAL" clId="{884E122A-9493-4B9D-A888-CA64B8E3236B}" dt="2020-09-13T12:02:59.228" v="268" actId="478"/>
          <ac:grpSpMkLst>
            <pc:docMk/>
            <pc:sldMk cId="3277751935" sldId="4404"/>
            <ac:grpSpMk id="236" creationId="{1B824B1A-1A9F-4772-9BA2-66BD48C52CB3}"/>
          </ac:grpSpMkLst>
        </pc:grpChg>
        <pc:grpChg chg="add mod">
          <ac:chgData name="Vik Verma" userId="658c3117-1579-4ad0-bc27-385c6f2212e9" providerId="ADAL" clId="{884E122A-9493-4B9D-A888-CA64B8E3236B}" dt="2020-09-13T13:12:56.158" v="1959" actId="1036"/>
          <ac:grpSpMkLst>
            <pc:docMk/>
            <pc:sldMk cId="3277751935" sldId="4404"/>
            <ac:grpSpMk id="244" creationId="{3405B0BA-F72A-4FEA-BE96-8DF2F0B04A8C}"/>
          </ac:grpSpMkLst>
        </pc:grpChg>
        <pc:grpChg chg="add mod ord">
          <ac:chgData name="Vik Verma" userId="658c3117-1579-4ad0-bc27-385c6f2212e9" providerId="ADAL" clId="{884E122A-9493-4B9D-A888-CA64B8E3236B}" dt="2020-09-13T13:12:56.158" v="1959" actId="1036"/>
          <ac:grpSpMkLst>
            <pc:docMk/>
            <pc:sldMk cId="3277751935" sldId="4404"/>
            <ac:grpSpMk id="245" creationId="{588603A6-D865-45BB-B3D4-7861AB8935E7}"/>
          </ac:grpSpMkLst>
        </pc:grpChg>
        <pc:grpChg chg="add del mod">
          <ac:chgData name="Vik Verma" userId="658c3117-1579-4ad0-bc27-385c6f2212e9" providerId="ADAL" clId="{884E122A-9493-4B9D-A888-CA64B8E3236B}" dt="2020-09-13T12:35:40.001" v="782" actId="165"/>
          <ac:grpSpMkLst>
            <pc:docMk/>
            <pc:sldMk cId="3277751935" sldId="4404"/>
            <ac:grpSpMk id="260" creationId="{A835C689-ED7B-4F59-8319-294DC6D70DB3}"/>
          </ac:grpSpMkLst>
        </pc:grpChg>
        <pc:grpChg chg="add mod ord">
          <ac:chgData name="Vik Verma" userId="658c3117-1579-4ad0-bc27-385c6f2212e9" providerId="ADAL" clId="{884E122A-9493-4B9D-A888-CA64B8E3236B}" dt="2020-09-13T13:12:56.158" v="1959" actId="1036"/>
          <ac:grpSpMkLst>
            <pc:docMk/>
            <pc:sldMk cId="3277751935" sldId="4404"/>
            <ac:grpSpMk id="275" creationId="{0B0E4B9D-9DB7-4079-9982-A28918C044FE}"/>
          </ac:grpSpMkLst>
        </pc:grpChg>
        <pc:grpChg chg="add mod">
          <ac:chgData name="Vik Verma" userId="658c3117-1579-4ad0-bc27-385c6f2212e9" providerId="ADAL" clId="{884E122A-9493-4B9D-A888-CA64B8E3236B}" dt="2020-09-13T13:12:56.158" v="1959" actId="1036"/>
          <ac:grpSpMkLst>
            <pc:docMk/>
            <pc:sldMk cId="3277751935" sldId="4404"/>
            <ac:grpSpMk id="276" creationId="{98639354-747F-4395-AFD8-C76664682EE2}"/>
          </ac:grpSpMkLst>
        </pc:grpChg>
        <pc:grpChg chg="add mod">
          <ac:chgData name="Vik Verma" userId="658c3117-1579-4ad0-bc27-385c6f2212e9" providerId="ADAL" clId="{884E122A-9493-4B9D-A888-CA64B8E3236B}" dt="2020-09-13T13:12:56.158" v="1959" actId="1036"/>
          <ac:grpSpMkLst>
            <pc:docMk/>
            <pc:sldMk cId="3277751935" sldId="4404"/>
            <ac:grpSpMk id="277" creationId="{BA35B25C-71CE-4580-AD70-3E13B391DEC7}"/>
          </ac:grpSpMkLst>
        </pc:grpChg>
        <pc:grpChg chg="add del mod">
          <ac:chgData name="Vik Verma" userId="658c3117-1579-4ad0-bc27-385c6f2212e9" providerId="ADAL" clId="{884E122A-9493-4B9D-A888-CA64B8E3236B}" dt="2020-09-13T12:41:28.144" v="830" actId="478"/>
          <ac:grpSpMkLst>
            <pc:docMk/>
            <pc:sldMk cId="3277751935" sldId="4404"/>
            <ac:grpSpMk id="278" creationId="{73C7BC78-133B-4E57-98E1-0106F43D3081}"/>
          </ac:grpSpMkLst>
        </pc:grpChg>
        <pc:picChg chg="mod topLvl">
          <ac:chgData name="Vik Verma" userId="658c3117-1579-4ad0-bc27-385c6f2212e9" providerId="ADAL" clId="{884E122A-9493-4B9D-A888-CA64B8E3236B}" dt="2020-09-13T13:12:56.158" v="1959" actId="1036"/>
          <ac:picMkLst>
            <pc:docMk/>
            <pc:sldMk cId="3277751935" sldId="4404"/>
            <ac:picMk id="6" creationId="{C0EDE014-A73F-4976-A091-C3C9E947BCB3}"/>
          </ac:picMkLst>
        </pc:picChg>
        <pc:picChg chg="add mod">
          <ac:chgData name="Vik Verma" userId="658c3117-1579-4ad0-bc27-385c6f2212e9" providerId="ADAL" clId="{884E122A-9493-4B9D-A888-CA64B8E3236B}" dt="2020-09-13T13:12:56.158" v="1959" actId="1036"/>
          <ac:picMkLst>
            <pc:docMk/>
            <pc:sldMk cId="3277751935" sldId="4404"/>
            <ac:picMk id="10" creationId="{6240F243-AB87-4EB7-95B2-BC9155791A30}"/>
          </ac:picMkLst>
        </pc:picChg>
        <pc:picChg chg="add mod">
          <ac:chgData name="Vik Verma" userId="658c3117-1579-4ad0-bc27-385c6f2212e9" providerId="ADAL" clId="{884E122A-9493-4B9D-A888-CA64B8E3236B}" dt="2020-09-13T12:50:01.994" v="1036" actId="1036"/>
          <ac:picMkLst>
            <pc:docMk/>
            <pc:sldMk cId="3277751935" sldId="4404"/>
            <ac:picMk id="15" creationId="{CC120067-A0B6-4F1E-AAEA-EB2D64AA64AD}"/>
          </ac:picMkLst>
        </pc:picChg>
        <pc:picChg chg="mod">
          <ac:chgData name="Vik Verma" userId="658c3117-1579-4ad0-bc27-385c6f2212e9" providerId="ADAL" clId="{884E122A-9493-4B9D-A888-CA64B8E3236B}" dt="2020-09-13T11:54:13.246" v="119"/>
          <ac:picMkLst>
            <pc:docMk/>
            <pc:sldMk cId="3277751935" sldId="4404"/>
            <ac:picMk id="78" creationId="{B0F1FCB6-25FB-462D-8D64-E7D5DB716A22}"/>
          </ac:picMkLst>
        </pc:picChg>
        <pc:picChg chg="del mod topLvl">
          <ac:chgData name="Vik Verma" userId="658c3117-1579-4ad0-bc27-385c6f2212e9" providerId="ADAL" clId="{884E122A-9493-4B9D-A888-CA64B8E3236B}" dt="2020-09-13T11:54:51.647" v="128" actId="478"/>
          <ac:picMkLst>
            <pc:docMk/>
            <pc:sldMk cId="3277751935" sldId="4404"/>
            <ac:picMk id="88" creationId="{EE323F5D-81DB-4DEF-9A2E-AE79ED15CD0D}"/>
          </ac:picMkLst>
        </pc:picChg>
        <pc:picChg chg="del mod topLvl">
          <ac:chgData name="Vik Verma" userId="658c3117-1579-4ad0-bc27-385c6f2212e9" providerId="ADAL" clId="{884E122A-9493-4B9D-A888-CA64B8E3236B}" dt="2020-09-13T11:54:51.647" v="128" actId="478"/>
          <ac:picMkLst>
            <pc:docMk/>
            <pc:sldMk cId="3277751935" sldId="4404"/>
            <ac:picMk id="91" creationId="{8490EB8F-4DE5-4EAC-9D02-E6C3B7AA5CD1}"/>
          </ac:picMkLst>
        </pc:picChg>
        <pc:picChg chg="mod">
          <ac:chgData name="Vik Verma" userId="658c3117-1579-4ad0-bc27-385c6f2212e9" providerId="ADAL" clId="{884E122A-9493-4B9D-A888-CA64B8E3236B}" dt="2020-09-13T11:54:13.246" v="119"/>
          <ac:picMkLst>
            <pc:docMk/>
            <pc:sldMk cId="3277751935" sldId="4404"/>
            <ac:picMk id="141" creationId="{7E3A988F-29C2-496F-B844-B0828FCA1DDD}"/>
          </ac:picMkLst>
        </pc:picChg>
        <pc:picChg chg="mod">
          <ac:chgData name="Vik Verma" userId="658c3117-1579-4ad0-bc27-385c6f2212e9" providerId="ADAL" clId="{884E122A-9493-4B9D-A888-CA64B8E3236B}" dt="2020-09-13T13:12:56.158" v="1959" actId="1036"/>
          <ac:picMkLst>
            <pc:docMk/>
            <pc:sldMk cId="3277751935" sldId="4404"/>
            <ac:picMk id="145" creationId="{9AC30009-5C30-452D-90CD-6213593652FE}"/>
          </ac:picMkLst>
        </pc:picChg>
        <pc:picChg chg="mod">
          <ac:chgData name="Vik Verma" userId="658c3117-1579-4ad0-bc27-385c6f2212e9" providerId="ADAL" clId="{884E122A-9493-4B9D-A888-CA64B8E3236B}" dt="2020-09-13T11:58:03.537" v="163"/>
          <ac:picMkLst>
            <pc:docMk/>
            <pc:sldMk cId="3277751935" sldId="4404"/>
            <ac:picMk id="156" creationId="{1C79D091-DF43-445F-959D-D63FD994528F}"/>
          </ac:picMkLst>
        </pc:picChg>
        <pc:picChg chg="mod">
          <ac:chgData name="Vik Verma" userId="658c3117-1579-4ad0-bc27-385c6f2212e9" providerId="ADAL" clId="{884E122A-9493-4B9D-A888-CA64B8E3236B}" dt="2020-09-13T11:58:03.537" v="163"/>
          <ac:picMkLst>
            <pc:docMk/>
            <pc:sldMk cId="3277751935" sldId="4404"/>
            <ac:picMk id="159" creationId="{B5DE23E7-E30F-415A-8500-EDB8130F7C05}"/>
          </ac:picMkLst>
        </pc:picChg>
        <pc:picChg chg="mod">
          <ac:chgData name="Vik Verma" userId="658c3117-1579-4ad0-bc27-385c6f2212e9" providerId="ADAL" clId="{884E122A-9493-4B9D-A888-CA64B8E3236B}" dt="2020-09-13T11:58:03.537" v="163"/>
          <ac:picMkLst>
            <pc:docMk/>
            <pc:sldMk cId="3277751935" sldId="4404"/>
            <ac:picMk id="162" creationId="{47D7D13B-9F25-4A14-85B2-057BD1FBD329}"/>
          </ac:picMkLst>
        </pc:picChg>
        <pc:picChg chg="mod">
          <ac:chgData name="Vik Verma" userId="658c3117-1579-4ad0-bc27-385c6f2212e9" providerId="ADAL" clId="{884E122A-9493-4B9D-A888-CA64B8E3236B}" dt="2020-09-13T11:58:03.537" v="163"/>
          <ac:picMkLst>
            <pc:docMk/>
            <pc:sldMk cId="3277751935" sldId="4404"/>
            <ac:picMk id="167" creationId="{B209AF48-D7C0-494E-A406-24C3E1D94D8C}"/>
          </ac:picMkLst>
        </pc:picChg>
        <pc:picChg chg="mod">
          <ac:chgData name="Vik Verma" userId="658c3117-1579-4ad0-bc27-385c6f2212e9" providerId="ADAL" clId="{884E122A-9493-4B9D-A888-CA64B8E3236B}" dt="2020-09-13T11:58:03.537" v="163"/>
          <ac:picMkLst>
            <pc:docMk/>
            <pc:sldMk cId="3277751935" sldId="4404"/>
            <ac:picMk id="171" creationId="{8C50122E-8130-4329-B5DE-90E5B0F3A221}"/>
          </ac:picMkLst>
        </pc:picChg>
        <pc:picChg chg="mod">
          <ac:chgData name="Vik Verma" userId="658c3117-1579-4ad0-bc27-385c6f2212e9" providerId="ADAL" clId="{884E122A-9493-4B9D-A888-CA64B8E3236B}" dt="2020-09-13T11:58:03.537" v="163"/>
          <ac:picMkLst>
            <pc:docMk/>
            <pc:sldMk cId="3277751935" sldId="4404"/>
            <ac:picMk id="172" creationId="{11391866-BAF3-4A28-8224-BF3EEF6F2987}"/>
          </ac:picMkLst>
        </pc:picChg>
        <pc:picChg chg="mod">
          <ac:chgData name="Vik Verma" userId="658c3117-1579-4ad0-bc27-385c6f2212e9" providerId="ADAL" clId="{884E122A-9493-4B9D-A888-CA64B8E3236B}" dt="2020-09-13T11:58:03.537" v="163"/>
          <ac:picMkLst>
            <pc:docMk/>
            <pc:sldMk cId="3277751935" sldId="4404"/>
            <ac:picMk id="173" creationId="{D2428046-50D1-4765-A4EA-411F563B964E}"/>
          </ac:picMkLst>
        </pc:picChg>
        <pc:picChg chg="mod">
          <ac:chgData name="Vik Verma" userId="658c3117-1579-4ad0-bc27-385c6f2212e9" providerId="ADAL" clId="{884E122A-9493-4B9D-A888-CA64B8E3236B}" dt="2020-09-13T11:58:03.537" v="163"/>
          <ac:picMkLst>
            <pc:docMk/>
            <pc:sldMk cId="3277751935" sldId="4404"/>
            <ac:picMk id="174" creationId="{22B70FF5-FBC4-4838-AF1B-4F0B0ACAF7D8}"/>
          </ac:picMkLst>
        </pc:picChg>
        <pc:picChg chg="mod">
          <ac:chgData name="Vik Verma" userId="658c3117-1579-4ad0-bc27-385c6f2212e9" providerId="ADAL" clId="{884E122A-9493-4B9D-A888-CA64B8E3236B}" dt="2020-09-13T11:58:03.537" v="163"/>
          <ac:picMkLst>
            <pc:docMk/>
            <pc:sldMk cId="3277751935" sldId="4404"/>
            <ac:picMk id="175" creationId="{54F165D0-4682-4ADE-B3B7-96A3EF7C89CF}"/>
          </ac:picMkLst>
        </pc:picChg>
        <pc:picChg chg="mod">
          <ac:chgData name="Vik Verma" userId="658c3117-1579-4ad0-bc27-385c6f2212e9" providerId="ADAL" clId="{884E122A-9493-4B9D-A888-CA64B8E3236B}" dt="2020-09-13T11:58:03.537" v="163"/>
          <ac:picMkLst>
            <pc:docMk/>
            <pc:sldMk cId="3277751935" sldId="4404"/>
            <ac:picMk id="180" creationId="{62E378B7-0BFA-4B6F-96D5-B6FF90BC7093}"/>
          </ac:picMkLst>
        </pc:picChg>
        <pc:picChg chg="mod">
          <ac:chgData name="Vik Verma" userId="658c3117-1579-4ad0-bc27-385c6f2212e9" providerId="ADAL" clId="{884E122A-9493-4B9D-A888-CA64B8E3236B}" dt="2020-09-13T11:59:40.954" v="167"/>
          <ac:picMkLst>
            <pc:docMk/>
            <pc:sldMk cId="3277751935" sldId="4404"/>
            <ac:picMk id="183" creationId="{7669631A-EB97-49C8-8525-834857BB9EAA}"/>
          </ac:picMkLst>
        </pc:picChg>
        <pc:picChg chg="mod">
          <ac:chgData name="Vik Verma" userId="658c3117-1579-4ad0-bc27-385c6f2212e9" providerId="ADAL" clId="{884E122A-9493-4B9D-A888-CA64B8E3236B}" dt="2020-09-13T11:59:40.954" v="167"/>
          <ac:picMkLst>
            <pc:docMk/>
            <pc:sldMk cId="3277751935" sldId="4404"/>
            <ac:picMk id="186" creationId="{1CEC7CE1-7281-487D-9801-79EE1B086B06}"/>
          </ac:picMkLst>
        </pc:picChg>
        <pc:picChg chg="mod">
          <ac:chgData name="Vik Verma" userId="658c3117-1579-4ad0-bc27-385c6f2212e9" providerId="ADAL" clId="{884E122A-9493-4B9D-A888-CA64B8E3236B}" dt="2020-09-13T11:59:40.954" v="167"/>
          <ac:picMkLst>
            <pc:docMk/>
            <pc:sldMk cId="3277751935" sldId="4404"/>
            <ac:picMk id="189" creationId="{8E792DF9-EBE6-409B-9ED8-A41DDF0EDD6A}"/>
          </ac:picMkLst>
        </pc:picChg>
        <pc:picChg chg="mod">
          <ac:chgData name="Vik Verma" userId="658c3117-1579-4ad0-bc27-385c6f2212e9" providerId="ADAL" clId="{884E122A-9493-4B9D-A888-CA64B8E3236B}" dt="2020-09-13T11:59:40.954" v="167"/>
          <ac:picMkLst>
            <pc:docMk/>
            <pc:sldMk cId="3277751935" sldId="4404"/>
            <ac:picMk id="194" creationId="{7E9B8EAF-4FC8-4FA5-9511-CB2340EC8E31}"/>
          </ac:picMkLst>
        </pc:picChg>
        <pc:picChg chg="mod">
          <ac:chgData name="Vik Verma" userId="658c3117-1579-4ad0-bc27-385c6f2212e9" providerId="ADAL" clId="{884E122A-9493-4B9D-A888-CA64B8E3236B}" dt="2020-09-13T11:59:40.954" v="167"/>
          <ac:picMkLst>
            <pc:docMk/>
            <pc:sldMk cId="3277751935" sldId="4404"/>
            <ac:picMk id="198" creationId="{73CDD4C3-68AC-4519-A1EB-8F82C4CA6ED0}"/>
          </ac:picMkLst>
        </pc:picChg>
        <pc:picChg chg="mod">
          <ac:chgData name="Vik Verma" userId="658c3117-1579-4ad0-bc27-385c6f2212e9" providerId="ADAL" clId="{884E122A-9493-4B9D-A888-CA64B8E3236B}" dt="2020-09-13T11:59:40.954" v="167"/>
          <ac:picMkLst>
            <pc:docMk/>
            <pc:sldMk cId="3277751935" sldId="4404"/>
            <ac:picMk id="199" creationId="{73EE9BCF-62AF-46B2-B1F4-5C9E1A1ED004}"/>
          </ac:picMkLst>
        </pc:picChg>
        <pc:picChg chg="mod">
          <ac:chgData name="Vik Verma" userId="658c3117-1579-4ad0-bc27-385c6f2212e9" providerId="ADAL" clId="{884E122A-9493-4B9D-A888-CA64B8E3236B}" dt="2020-09-13T11:59:40.954" v="167"/>
          <ac:picMkLst>
            <pc:docMk/>
            <pc:sldMk cId="3277751935" sldId="4404"/>
            <ac:picMk id="200" creationId="{37AFA346-E941-4BAA-BCFD-D57D6259D94D}"/>
          </ac:picMkLst>
        </pc:picChg>
        <pc:picChg chg="mod">
          <ac:chgData name="Vik Verma" userId="658c3117-1579-4ad0-bc27-385c6f2212e9" providerId="ADAL" clId="{884E122A-9493-4B9D-A888-CA64B8E3236B}" dt="2020-09-13T11:59:40.954" v="167"/>
          <ac:picMkLst>
            <pc:docMk/>
            <pc:sldMk cId="3277751935" sldId="4404"/>
            <ac:picMk id="201" creationId="{2A13EDCD-7238-4E8C-98FE-FE3D577DED9F}"/>
          </ac:picMkLst>
        </pc:picChg>
        <pc:picChg chg="mod">
          <ac:chgData name="Vik Verma" userId="658c3117-1579-4ad0-bc27-385c6f2212e9" providerId="ADAL" clId="{884E122A-9493-4B9D-A888-CA64B8E3236B}" dt="2020-09-13T11:59:40.954" v="167"/>
          <ac:picMkLst>
            <pc:docMk/>
            <pc:sldMk cId="3277751935" sldId="4404"/>
            <ac:picMk id="202" creationId="{DC7C21B8-0857-4DB4-AE78-63FCC6E99F90}"/>
          </ac:picMkLst>
        </pc:picChg>
        <pc:picChg chg="mod">
          <ac:chgData name="Vik Verma" userId="658c3117-1579-4ad0-bc27-385c6f2212e9" providerId="ADAL" clId="{884E122A-9493-4B9D-A888-CA64B8E3236B}" dt="2020-09-13T11:59:40.954" v="167"/>
          <ac:picMkLst>
            <pc:docMk/>
            <pc:sldMk cId="3277751935" sldId="4404"/>
            <ac:picMk id="207" creationId="{0186A07A-6A6D-487D-A8C5-1C32E5BEBA3A}"/>
          </ac:picMkLst>
        </pc:picChg>
        <pc:picChg chg="del mod">
          <ac:chgData name="Vik Verma" userId="658c3117-1579-4ad0-bc27-385c6f2212e9" providerId="ADAL" clId="{884E122A-9493-4B9D-A888-CA64B8E3236B}" dt="2020-09-13T11:59:47.405" v="169" actId="478"/>
          <ac:picMkLst>
            <pc:docMk/>
            <pc:sldMk cId="3277751935" sldId="4404"/>
            <ac:picMk id="213" creationId="{75416A5F-4A02-4812-8410-04A2CDE1AE50}"/>
          </ac:picMkLst>
        </pc:picChg>
        <pc:picChg chg="add mod">
          <ac:chgData name="Vik Verma" userId="658c3117-1579-4ad0-bc27-385c6f2212e9" providerId="ADAL" clId="{884E122A-9493-4B9D-A888-CA64B8E3236B}" dt="2020-09-13T13:12:56.158" v="1959" actId="1036"/>
          <ac:picMkLst>
            <pc:docMk/>
            <pc:sldMk cId="3277751935" sldId="4404"/>
            <ac:picMk id="231" creationId="{7C417854-E992-4237-8E28-1BE260C5C79A}"/>
          </ac:picMkLst>
        </pc:picChg>
        <pc:picChg chg="mod topLvl">
          <ac:chgData name="Vik Verma" userId="658c3117-1579-4ad0-bc27-385c6f2212e9" providerId="ADAL" clId="{884E122A-9493-4B9D-A888-CA64B8E3236B}" dt="2020-09-13T13:12:56.158" v="1959" actId="1036"/>
          <ac:picMkLst>
            <pc:docMk/>
            <pc:sldMk cId="3277751935" sldId="4404"/>
            <ac:picMk id="241" creationId="{3369BE72-0701-4258-9616-C1BC1C53AB4F}"/>
          </ac:picMkLst>
        </pc:picChg>
        <pc:picChg chg="add del mod">
          <ac:chgData name="Vik Verma" userId="658c3117-1579-4ad0-bc27-385c6f2212e9" providerId="ADAL" clId="{884E122A-9493-4B9D-A888-CA64B8E3236B}" dt="2020-09-13T12:18:51.990" v="576" actId="478"/>
          <ac:picMkLst>
            <pc:docMk/>
            <pc:sldMk cId="3277751935" sldId="4404"/>
            <ac:picMk id="270" creationId="{DB2B5A17-1957-4B9D-BC7C-F8CCF895EF46}"/>
          </ac:picMkLst>
        </pc:picChg>
        <pc:picChg chg="add mod">
          <ac:chgData name="Vik Verma" userId="658c3117-1579-4ad0-bc27-385c6f2212e9" providerId="ADAL" clId="{884E122A-9493-4B9D-A888-CA64B8E3236B}" dt="2020-09-13T13:12:56.158" v="1959" actId="1036"/>
          <ac:picMkLst>
            <pc:docMk/>
            <pc:sldMk cId="3277751935" sldId="4404"/>
            <ac:picMk id="272" creationId="{3D2DE8E2-1B28-4C2E-ADCE-084A7F98B6B5}"/>
          </ac:picMkLst>
        </pc:picChg>
        <pc:picChg chg="mod">
          <ac:chgData name="Vik Verma" userId="658c3117-1579-4ad0-bc27-385c6f2212e9" providerId="ADAL" clId="{884E122A-9493-4B9D-A888-CA64B8E3236B}" dt="2020-09-13T12:40:19.429" v="819" actId="1076"/>
          <ac:picMkLst>
            <pc:docMk/>
            <pc:sldMk cId="3277751935" sldId="4404"/>
            <ac:picMk id="279" creationId="{252C6CD6-7CDC-4106-ACF9-5564A35F0E0A}"/>
          </ac:picMkLst>
        </pc:picChg>
        <pc:picChg chg="mod">
          <ac:chgData name="Vik Verma" userId="658c3117-1579-4ad0-bc27-385c6f2212e9" providerId="ADAL" clId="{884E122A-9493-4B9D-A888-CA64B8E3236B}" dt="2020-09-13T12:39:48.859" v="814"/>
          <ac:picMkLst>
            <pc:docMk/>
            <pc:sldMk cId="3277751935" sldId="4404"/>
            <ac:picMk id="280" creationId="{EEDCBCD7-87F2-4E1C-B75E-6004D07BEAEB}"/>
          </ac:picMkLst>
        </pc:picChg>
        <pc:picChg chg="mod">
          <ac:chgData name="Vik Verma" userId="658c3117-1579-4ad0-bc27-385c6f2212e9" providerId="ADAL" clId="{884E122A-9493-4B9D-A888-CA64B8E3236B}" dt="2020-09-13T12:39:48.859" v="814"/>
          <ac:picMkLst>
            <pc:docMk/>
            <pc:sldMk cId="3277751935" sldId="4404"/>
            <ac:picMk id="281" creationId="{F925005E-877D-424E-973E-751D6BF5F5DB}"/>
          </ac:picMkLst>
        </pc:picChg>
        <pc:picChg chg="mod">
          <ac:chgData name="Vik Verma" userId="658c3117-1579-4ad0-bc27-385c6f2212e9" providerId="ADAL" clId="{884E122A-9493-4B9D-A888-CA64B8E3236B}" dt="2020-09-13T12:40:25.486" v="820" actId="1076"/>
          <ac:picMkLst>
            <pc:docMk/>
            <pc:sldMk cId="3277751935" sldId="4404"/>
            <ac:picMk id="282" creationId="{14FB3D1D-2E32-4BC4-AAE8-FBC768EA9762}"/>
          </ac:picMkLst>
        </pc:picChg>
        <pc:picChg chg="mod">
          <ac:chgData name="Vik Verma" userId="658c3117-1579-4ad0-bc27-385c6f2212e9" providerId="ADAL" clId="{884E122A-9493-4B9D-A888-CA64B8E3236B}" dt="2020-09-13T12:40:10.432" v="817" actId="1076"/>
          <ac:picMkLst>
            <pc:docMk/>
            <pc:sldMk cId="3277751935" sldId="4404"/>
            <ac:picMk id="283" creationId="{618B60FC-9029-40BD-A57F-35DA2C4E34FB}"/>
          </ac:picMkLst>
        </pc:picChg>
        <pc:picChg chg="mod">
          <ac:chgData name="Vik Verma" userId="658c3117-1579-4ad0-bc27-385c6f2212e9" providerId="ADAL" clId="{884E122A-9493-4B9D-A888-CA64B8E3236B}" dt="2020-09-13T12:40:15.059" v="818" actId="1076"/>
          <ac:picMkLst>
            <pc:docMk/>
            <pc:sldMk cId="3277751935" sldId="4404"/>
            <ac:picMk id="284" creationId="{E4BDB7F0-0611-4792-A951-DA6B92C4A596}"/>
          </ac:picMkLst>
        </pc:picChg>
        <pc:cxnChg chg="mod">
          <ac:chgData name="Vik Verma" userId="658c3117-1579-4ad0-bc27-385c6f2212e9" providerId="ADAL" clId="{884E122A-9493-4B9D-A888-CA64B8E3236B}" dt="2020-09-13T13:12:56.158" v="1959" actId="1036"/>
          <ac:cxnSpMkLst>
            <pc:docMk/>
            <pc:sldMk cId="3277751935" sldId="4404"/>
            <ac:cxnSpMk id="40" creationId="{6D34EFBA-05D1-4889-A2B5-287CC520C059}"/>
          </ac:cxnSpMkLst>
        </pc:cxnChg>
        <pc:cxnChg chg="mod">
          <ac:chgData name="Vik Verma" userId="658c3117-1579-4ad0-bc27-385c6f2212e9" providerId="ADAL" clId="{884E122A-9493-4B9D-A888-CA64B8E3236B}" dt="2020-09-13T13:12:56.158" v="1959" actId="1036"/>
          <ac:cxnSpMkLst>
            <pc:docMk/>
            <pc:sldMk cId="3277751935" sldId="4404"/>
            <ac:cxnSpMk id="47" creationId="{D177189E-3109-4D81-9399-5E0A72FB88FA}"/>
          </ac:cxnSpMkLst>
        </pc:cxnChg>
        <pc:cxnChg chg="add del mod">
          <ac:chgData name="Vik Verma" userId="658c3117-1579-4ad0-bc27-385c6f2212e9" providerId="ADAL" clId="{884E122A-9493-4B9D-A888-CA64B8E3236B}" dt="2020-09-13T11:57:37.875" v="161" actId="478"/>
          <ac:cxnSpMkLst>
            <pc:docMk/>
            <pc:sldMk cId="3277751935" sldId="4404"/>
            <ac:cxnSpMk id="56" creationId="{F3D0DD62-3AF5-432A-9EEF-F17375563707}"/>
          </ac:cxnSpMkLst>
        </pc:cxnChg>
        <pc:cxnChg chg="add del mod">
          <ac:chgData name="Vik Verma" userId="658c3117-1579-4ad0-bc27-385c6f2212e9" providerId="ADAL" clId="{884E122A-9493-4B9D-A888-CA64B8E3236B}" dt="2020-09-13T11:57:37.875" v="161" actId="478"/>
          <ac:cxnSpMkLst>
            <pc:docMk/>
            <pc:sldMk cId="3277751935" sldId="4404"/>
            <ac:cxnSpMk id="57" creationId="{EF14807D-E04E-4EE4-8E8C-27454AE67003}"/>
          </ac:cxnSpMkLst>
        </pc:cxnChg>
        <pc:cxnChg chg="add del mod">
          <ac:chgData name="Vik Verma" userId="658c3117-1579-4ad0-bc27-385c6f2212e9" providerId="ADAL" clId="{884E122A-9493-4B9D-A888-CA64B8E3236B}" dt="2020-09-13T11:57:37.875" v="161" actId="478"/>
          <ac:cxnSpMkLst>
            <pc:docMk/>
            <pc:sldMk cId="3277751935" sldId="4404"/>
            <ac:cxnSpMk id="58" creationId="{702C1812-C759-4BD0-A59B-CF07E2040213}"/>
          </ac:cxnSpMkLst>
        </pc:cxnChg>
        <pc:cxnChg chg="add del mod">
          <ac:chgData name="Vik Verma" userId="658c3117-1579-4ad0-bc27-385c6f2212e9" providerId="ADAL" clId="{884E122A-9493-4B9D-A888-CA64B8E3236B}" dt="2020-09-13T11:57:37.875" v="161" actId="478"/>
          <ac:cxnSpMkLst>
            <pc:docMk/>
            <pc:sldMk cId="3277751935" sldId="4404"/>
            <ac:cxnSpMk id="60" creationId="{E2D5C38A-31F9-4138-B122-5F7772D9B181}"/>
          </ac:cxnSpMkLst>
        </pc:cxnChg>
        <pc:cxnChg chg="add del mod">
          <ac:chgData name="Vik Verma" userId="658c3117-1579-4ad0-bc27-385c6f2212e9" providerId="ADAL" clId="{884E122A-9493-4B9D-A888-CA64B8E3236B}" dt="2020-09-13T11:57:31.766" v="158" actId="478"/>
          <ac:cxnSpMkLst>
            <pc:docMk/>
            <pc:sldMk cId="3277751935" sldId="4404"/>
            <ac:cxnSpMk id="62" creationId="{6BFD3914-91A4-4706-846C-10CABF778B6B}"/>
          </ac:cxnSpMkLst>
        </pc:cxnChg>
        <pc:cxnChg chg="add del mod">
          <ac:chgData name="Vik Verma" userId="658c3117-1579-4ad0-bc27-385c6f2212e9" providerId="ADAL" clId="{884E122A-9493-4B9D-A888-CA64B8E3236B}" dt="2020-09-13T11:57:33.614" v="159" actId="478"/>
          <ac:cxnSpMkLst>
            <pc:docMk/>
            <pc:sldMk cId="3277751935" sldId="4404"/>
            <ac:cxnSpMk id="63" creationId="{2B4E7142-1DDC-4538-9BE6-6055B249C677}"/>
          </ac:cxnSpMkLst>
        </pc:cxnChg>
        <pc:cxnChg chg="del mod topLvl">
          <ac:chgData name="Vik Verma" userId="658c3117-1579-4ad0-bc27-385c6f2212e9" providerId="ADAL" clId="{884E122A-9493-4B9D-A888-CA64B8E3236B}" dt="2020-09-13T11:54:51.647" v="128" actId="478"/>
          <ac:cxnSpMkLst>
            <pc:docMk/>
            <pc:sldMk cId="3277751935" sldId="4404"/>
            <ac:cxnSpMk id="101" creationId="{7DCDEBB1-3B65-4723-A71B-DD7A5D6B9913}"/>
          </ac:cxnSpMkLst>
        </pc:cxnChg>
        <pc:cxnChg chg="del mod topLvl">
          <ac:chgData name="Vik Verma" userId="658c3117-1579-4ad0-bc27-385c6f2212e9" providerId="ADAL" clId="{884E122A-9493-4B9D-A888-CA64B8E3236B}" dt="2020-09-13T11:54:51.647" v="128" actId="478"/>
          <ac:cxnSpMkLst>
            <pc:docMk/>
            <pc:sldMk cId="3277751935" sldId="4404"/>
            <ac:cxnSpMk id="102" creationId="{A99CC4BC-5874-4CD9-B831-B17579E7D1BB}"/>
          </ac:cxnSpMkLst>
        </pc:cxnChg>
        <pc:cxnChg chg="mod">
          <ac:chgData name="Vik Verma" userId="658c3117-1579-4ad0-bc27-385c6f2212e9" providerId="ADAL" clId="{884E122A-9493-4B9D-A888-CA64B8E3236B}" dt="2020-09-13T11:54:13.246" v="119"/>
          <ac:cxnSpMkLst>
            <pc:docMk/>
            <pc:sldMk cId="3277751935" sldId="4404"/>
            <ac:cxnSpMk id="118" creationId="{0E91CC4B-21DA-463F-9EBC-C81D763F4F25}"/>
          </ac:cxnSpMkLst>
        </pc:cxnChg>
        <pc:cxnChg chg="mod">
          <ac:chgData name="Vik Verma" userId="658c3117-1579-4ad0-bc27-385c6f2212e9" providerId="ADAL" clId="{884E122A-9493-4B9D-A888-CA64B8E3236B}" dt="2020-09-13T11:54:13.246" v="119"/>
          <ac:cxnSpMkLst>
            <pc:docMk/>
            <pc:sldMk cId="3277751935" sldId="4404"/>
            <ac:cxnSpMk id="130" creationId="{9617B26F-7CC1-4B98-9F54-38910DB5ACAC}"/>
          </ac:cxnSpMkLst>
        </pc:cxnChg>
        <pc:cxnChg chg="add del mod">
          <ac:chgData name="Vik Verma" userId="658c3117-1579-4ad0-bc27-385c6f2212e9" providerId="ADAL" clId="{884E122A-9493-4B9D-A888-CA64B8E3236B}" dt="2020-09-13T11:57:35.366" v="160" actId="478"/>
          <ac:cxnSpMkLst>
            <pc:docMk/>
            <pc:sldMk cId="3277751935" sldId="4404"/>
            <ac:cxnSpMk id="146" creationId="{B08D8E94-FBDA-4FDA-BF96-E35B8F31BD79}"/>
          </ac:cxnSpMkLst>
        </pc:cxnChg>
        <pc:cxnChg chg="mod">
          <ac:chgData name="Vik Verma" userId="658c3117-1579-4ad0-bc27-385c6f2212e9" providerId="ADAL" clId="{884E122A-9493-4B9D-A888-CA64B8E3236B}" dt="2020-09-13T11:59:39.930" v="166" actId="478"/>
          <ac:cxnSpMkLst>
            <pc:docMk/>
            <pc:sldMk cId="3277751935" sldId="4404"/>
            <ac:cxnSpMk id="166" creationId="{9A5EC381-AF0D-4DF5-9A76-93E49FEDE7D6}"/>
          </ac:cxnSpMkLst>
        </pc:cxnChg>
        <pc:cxnChg chg="mod">
          <ac:chgData name="Vik Verma" userId="658c3117-1579-4ad0-bc27-385c6f2212e9" providerId="ADAL" clId="{884E122A-9493-4B9D-A888-CA64B8E3236B}" dt="2020-09-13T12:01:47.733" v="259" actId="478"/>
          <ac:cxnSpMkLst>
            <pc:docMk/>
            <pc:sldMk cId="3277751935" sldId="4404"/>
            <ac:cxnSpMk id="193" creationId="{0BB0B894-E638-41A3-900E-7FE1FB091FF6}"/>
          </ac:cxnSpMkLst>
        </pc:cxnChg>
        <pc:cxnChg chg="del mod topLvl">
          <ac:chgData name="Vik Verma" userId="658c3117-1579-4ad0-bc27-385c6f2212e9" providerId="ADAL" clId="{884E122A-9493-4B9D-A888-CA64B8E3236B}" dt="2020-09-13T11:59:59.397" v="172" actId="478"/>
          <ac:cxnSpMkLst>
            <pc:docMk/>
            <pc:sldMk cId="3277751935" sldId="4404"/>
            <ac:cxnSpMk id="210" creationId="{5FDB49E2-17D3-4E11-B5CD-DA0FCD0C124F}"/>
          </ac:cxnSpMkLst>
        </pc:cxnChg>
        <pc:cxnChg chg="mod">
          <ac:chgData name="Vik Verma" userId="658c3117-1579-4ad0-bc27-385c6f2212e9" providerId="ADAL" clId="{884E122A-9493-4B9D-A888-CA64B8E3236B}" dt="2020-09-13T12:00:08.449" v="174" actId="478"/>
          <ac:cxnSpMkLst>
            <pc:docMk/>
            <pc:sldMk cId="3277751935" sldId="4404"/>
            <ac:cxnSpMk id="221" creationId="{8D0238CB-A2D2-4DCB-BC26-CDCAE2C38F85}"/>
          </ac:cxnSpMkLst>
        </pc:cxnChg>
        <pc:cxnChg chg="mod">
          <ac:chgData name="Vik Verma" userId="658c3117-1579-4ad0-bc27-385c6f2212e9" providerId="ADAL" clId="{884E122A-9493-4B9D-A888-CA64B8E3236B}" dt="2020-09-13T12:00:08.449" v="174" actId="478"/>
          <ac:cxnSpMkLst>
            <pc:docMk/>
            <pc:sldMk cId="3277751935" sldId="4404"/>
            <ac:cxnSpMk id="223" creationId="{381650E3-6F86-4D51-A5D0-D56FFE2FBCB9}"/>
          </ac:cxnSpMkLst>
        </pc:cxnChg>
        <pc:cxnChg chg="mod">
          <ac:chgData name="Vik Verma" userId="658c3117-1579-4ad0-bc27-385c6f2212e9" providerId="ADAL" clId="{884E122A-9493-4B9D-A888-CA64B8E3236B}" dt="2020-09-13T12:00:08.449" v="174" actId="478"/>
          <ac:cxnSpMkLst>
            <pc:docMk/>
            <pc:sldMk cId="3277751935" sldId="4404"/>
            <ac:cxnSpMk id="225" creationId="{10A3F18F-2C7B-4CF1-8B51-062DC026E318}"/>
          </ac:cxnSpMkLst>
        </pc:cxnChg>
        <pc:cxnChg chg="mod">
          <ac:chgData name="Vik Verma" userId="658c3117-1579-4ad0-bc27-385c6f2212e9" providerId="ADAL" clId="{884E122A-9493-4B9D-A888-CA64B8E3236B}" dt="2020-09-13T12:00:15.507" v="175" actId="478"/>
          <ac:cxnSpMkLst>
            <pc:docMk/>
            <pc:sldMk cId="3277751935" sldId="4404"/>
            <ac:cxnSpMk id="227" creationId="{D074EF1D-286A-4C34-9E63-D489A3F4E641}"/>
          </ac:cxnSpMkLst>
        </pc:cxnChg>
        <pc:cxnChg chg="mod">
          <ac:chgData name="Vik Verma" userId="658c3117-1579-4ad0-bc27-385c6f2212e9" providerId="ADAL" clId="{884E122A-9493-4B9D-A888-CA64B8E3236B}" dt="2020-09-13T12:00:15.507" v="175" actId="478"/>
          <ac:cxnSpMkLst>
            <pc:docMk/>
            <pc:sldMk cId="3277751935" sldId="4404"/>
            <ac:cxnSpMk id="229" creationId="{0A3CDC7E-5F36-4446-B94F-3B888EFAE7FD}"/>
          </ac:cxnSpMkLst>
        </pc:cxnChg>
        <pc:cxnChg chg="add mod">
          <ac:chgData name="Vik Verma" userId="658c3117-1579-4ad0-bc27-385c6f2212e9" providerId="ADAL" clId="{884E122A-9493-4B9D-A888-CA64B8E3236B}" dt="2020-09-13T13:12:56.158" v="1959" actId="1036"/>
          <ac:cxnSpMkLst>
            <pc:docMk/>
            <pc:sldMk cId="3277751935" sldId="4404"/>
            <ac:cxnSpMk id="295" creationId="{4D69A0D0-73B5-4F24-94B8-802D733C4847}"/>
          </ac:cxnSpMkLst>
        </pc:cxnChg>
        <pc:cxnChg chg="add mod">
          <ac:chgData name="Vik Verma" userId="658c3117-1579-4ad0-bc27-385c6f2212e9" providerId="ADAL" clId="{884E122A-9493-4B9D-A888-CA64B8E3236B}" dt="2020-09-13T13:12:56.158" v="1959" actId="1036"/>
          <ac:cxnSpMkLst>
            <pc:docMk/>
            <pc:sldMk cId="3277751935" sldId="4404"/>
            <ac:cxnSpMk id="299" creationId="{ED87C1AC-506A-4D7F-9624-B957A2291D1F}"/>
          </ac:cxnSpMkLst>
        </pc:cxnChg>
        <pc:cxnChg chg="add mod">
          <ac:chgData name="Vik Verma" userId="658c3117-1579-4ad0-bc27-385c6f2212e9" providerId="ADAL" clId="{884E122A-9493-4B9D-A888-CA64B8E3236B}" dt="2020-09-13T13:12:56.158" v="1959" actId="1036"/>
          <ac:cxnSpMkLst>
            <pc:docMk/>
            <pc:sldMk cId="3277751935" sldId="4404"/>
            <ac:cxnSpMk id="301" creationId="{A4500AF9-EB1E-4035-886B-31558F9EAE10}"/>
          </ac:cxnSpMkLst>
        </pc:cxnChg>
        <pc:cxnChg chg="add mod">
          <ac:chgData name="Vik Verma" userId="658c3117-1579-4ad0-bc27-385c6f2212e9" providerId="ADAL" clId="{884E122A-9493-4B9D-A888-CA64B8E3236B}" dt="2020-09-13T13:12:56.158" v="1959" actId="1036"/>
          <ac:cxnSpMkLst>
            <pc:docMk/>
            <pc:sldMk cId="3277751935" sldId="4404"/>
            <ac:cxnSpMk id="304" creationId="{17A6A2D7-6D83-457D-93B2-20ABF6603667}"/>
          </ac:cxnSpMkLst>
        </pc:cxnChg>
        <pc:cxnChg chg="add mod">
          <ac:chgData name="Vik Verma" userId="658c3117-1579-4ad0-bc27-385c6f2212e9" providerId="ADAL" clId="{884E122A-9493-4B9D-A888-CA64B8E3236B}" dt="2020-09-13T13:12:56.158" v="1959" actId="1036"/>
          <ac:cxnSpMkLst>
            <pc:docMk/>
            <pc:sldMk cId="3277751935" sldId="4404"/>
            <ac:cxnSpMk id="307" creationId="{6CEB6340-2C10-4565-8BFD-C85494752BE9}"/>
          </ac:cxnSpMkLst>
        </pc:cxnChg>
        <pc:cxnChg chg="add mod">
          <ac:chgData name="Vik Verma" userId="658c3117-1579-4ad0-bc27-385c6f2212e9" providerId="ADAL" clId="{884E122A-9493-4B9D-A888-CA64B8E3236B}" dt="2020-09-13T13:12:56.158" v="1959" actId="1036"/>
          <ac:cxnSpMkLst>
            <pc:docMk/>
            <pc:sldMk cId="3277751935" sldId="4404"/>
            <ac:cxnSpMk id="310" creationId="{DF32F220-2E64-4B58-9E4B-047D4806722D}"/>
          </ac:cxnSpMkLst>
        </pc:cxnChg>
        <pc:cxnChg chg="add mod">
          <ac:chgData name="Vik Verma" userId="658c3117-1579-4ad0-bc27-385c6f2212e9" providerId="ADAL" clId="{884E122A-9493-4B9D-A888-CA64B8E3236B}" dt="2020-09-13T13:12:56.158" v="1959" actId="1036"/>
          <ac:cxnSpMkLst>
            <pc:docMk/>
            <pc:sldMk cId="3277751935" sldId="4404"/>
            <ac:cxnSpMk id="313" creationId="{B7A7B5B2-402A-4DA8-BA9D-4987FA56B4AD}"/>
          </ac:cxnSpMkLst>
        </pc:cxnChg>
        <pc:cxnChg chg="add mod">
          <ac:chgData name="Vik Verma" userId="658c3117-1579-4ad0-bc27-385c6f2212e9" providerId="ADAL" clId="{884E122A-9493-4B9D-A888-CA64B8E3236B}" dt="2020-09-13T13:12:56.158" v="1959" actId="1036"/>
          <ac:cxnSpMkLst>
            <pc:docMk/>
            <pc:sldMk cId="3277751935" sldId="4404"/>
            <ac:cxnSpMk id="316" creationId="{231AEE0A-0656-4A1A-A858-01A270C3A71B}"/>
          </ac:cxnSpMkLst>
        </pc:cxnChg>
        <pc:cxnChg chg="add mod">
          <ac:chgData name="Vik Verma" userId="658c3117-1579-4ad0-bc27-385c6f2212e9" providerId="ADAL" clId="{884E122A-9493-4B9D-A888-CA64B8E3236B}" dt="2020-09-13T13:12:56.158" v="1959" actId="1036"/>
          <ac:cxnSpMkLst>
            <pc:docMk/>
            <pc:sldMk cId="3277751935" sldId="4404"/>
            <ac:cxnSpMk id="318" creationId="{5C33C9FE-95AD-4BDA-BBC1-7C59422431B9}"/>
          </ac:cxnSpMkLst>
        </pc:cxnChg>
        <pc:cxnChg chg="add mod">
          <ac:chgData name="Vik Verma" userId="658c3117-1579-4ad0-bc27-385c6f2212e9" providerId="ADAL" clId="{884E122A-9493-4B9D-A888-CA64B8E3236B}" dt="2020-09-13T13:12:56.158" v="1959" actId="1036"/>
          <ac:cxnSpMkLst>
            <pc:docMk/>
            <pc:sldMk cId="3277751935" sldId="4404"/>
            <ac:cxnSpMk id="320" creationId="{631A7518-AFC2-49CF-A99D-42E63891CB02}"/>
          </ac:cxnSpMkLst>
        </pc:cxnChg>
        <pc:cxnChg chg="add del mod">
          <ac:chgData name="Vik Verma" userId="658c3117-1579-4ad0-bc27-385c6f2212e9" providerId="ADAL" clId="{884E122A-9493-4B9D-A888-CA64B8E3236B}" dt="2020-09-13T12:54:36.599" v="1080" actId="478"/>
          <ac:cxnSpMkLst>
            <pc:docMk/>
            <pc:sldMk cId="3277751935" sldId="4404"/>
            <ac:cxnSpMk id="322" creationId="{6C7C83D4-90D4-400A-AC85-053E005F561C}"/>
          </ac:cxnSpMkLst>
        </pc:cxnChg>
        <pc:cxnChg chg="add mod">
          <ac:chgData name="Vik Verma" userId="658c3117-1579-4ad0-bc27-385c6f2212e9" providerId="ADAL" clId="{884E122A-9493-4B9D-A888-CA64B8E3236B}" dt="2020-09-13T13:12:56.158" v="1959" actId="1036"/>
          <ac:cxnSpMkLst>
            <pc:docMk/>
            <pc:sldMk cId="3277751935" sldId="4404"/>
            <ac:cxnSpMk id="331" creationId="{E302F4CA-5F4F-44F8-9A8C-696016EE794D}"/>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C73270-904A-4C00-9E05-4374D3EFE54F}" type="datetimeFigureOut">
              <a:rPr lang="en-US" smtClean="0"/>
              <a:t>11/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24FE22-94F8-4D93-820B-89FCE526CE4F}" type="slidenum">
              <a:rPr lang="en-US" smtClean="0"/>
              <a:t>‹#›</a:t>
            </a:fld>
            <a:endParaRPr lang="en-US"/>
          </a:p>
        </p:txBody>
      </p:sp>
    </p:spTree>
    <p:extLst>
      <p:ext uri="{BB962C8B-B14F-4D97-AF65-F5344CB8AC3E}">
        <p14:creationId xmlns:p14="http://schemas.microsoft.com/office/powerpoint/2010/main" val="24774938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43332458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3.xml"/><Relationship Id="rId6" Type="http://schemas.openxmlformats.org/officeDocument/2006/relationships/image" Target="../media/image3.bin"/><Relationship Id="rId5" Type="http://schemas.openxmlformats.org/officeDocument/2006/relationships/image" Target="../media/image2.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797231706"/>
      </p:ext>
    </p:extLst>
  </p:cSld>
  <p:clrMap bg1="lt1" tx1="dk1" bg2="lt2" tx2="dk2" accent1="accent1" accent2="accent2" accent3="accent3" accent4="accent4" accent5="accent5" accent6="accent6" hlink="hlink" folHlink="folHlink"/>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Title text style</a:t>
            </a:r>
          </a:p>
        </p:txBody>
      </p:sp>
      <p:sp>
        <p:nvSpPr>
          <p:cNvPr id="4" name="Text Placeholder 3"/>
          <p:cNvSpPr>
            <a:spLocks noGrp="1"/>
          </p:cNvSpPr>
          <p:nvPr>
            <p:ph type="body" idx="1"/>
          </p:nvPr>
        </p:nvSpPr>
        <p:spPr>
          <a:xfrm>
            <a:off x="269240" y="1189177"/>
            <a:ext cx="11653521" cy="1237253"/>
          </a:xfrm>
          <a:prstGeom prst="rect">
            <a:avLst/>
          </a:prstGeom>
        </p:spPr>
        <p:txBody>
          <a:bodyPr vert="horz" wrap="square" lIns="146304" tIns="91440" rIns="146304" bIns="91440" rtlCol="0">
            <a:spAutoFit/>
          </a:bodyPr>
          <a:lstStyle/>
          <a:p>
            <a:pPr lvl="0"/>
            <a:r>
              <a:rPr lang="en-US"/>
              <a:t>Subheading text style</a:t>
            </a:r>
          </a:p>
          <a:p>
            <a:pPr lvl="1"/>
            <a:r>
              <a:rPr lang="en-US"/>
              <a:t>Paragraph title text style</a:t>
            </a:r>
          </a:p>
          <a:p>
            <a:pPr marL="840191" marR="0" lvl="2" indent="-280064" algn="l" defTabSz="914180" rtl="0" eaLnBrk="1" fontAlgn="auto" latinLnBrk="0" hangingPunct="1">
              <a:lnSpc>
                <a:spcPct val="90000"/>
              </a:lnSpc>
              <a:spcBef>
                <a:spcPct val="20000"/>
              </a:spcBef>
              <a:spcAft>
                <a:spcPts val="0"/>
              </a:spcAft>
              <a:buClrTx/>
              <a:buSzPct val="90000"/>
              <a:tabLst/>
              <a:defRPr/>
            </a:pPr>
            <a:r>
              <a:rPr lang="en-US"/>
              <a:t>Body text style</a:t>
            </a:r>
          </a:p>
          <a:p>
            <a:pPr lvl="2"/>
            <a:endParaRPr lang="en-US"/>
          </a:p>
          <a:p>
            <a:pPr lvl="2"/>
            <a:endParaRPr lang="en-US"/>
          </a:p>
        </p:txBody>
      </p:sp>
    </p:spTree>
    <p:extLst>
      <p:ext uri="{BB962C8B-B14F-4D97-AF65-F5344CB8AC3E}">
        <p14:creationId xmlns:p14="http://schemas.microsoft.com/office/powerpoint/2010/main" val="1230937831"/>
      </p:ext>
    </p:extLst>
  </p:cSld>
  <p:clrMap bg1="lt1" tx1="dk1" bg2="lt2" tx2="dk2" accent1="accent1" accent2="accent2" accent3="accent3" accent4="accent4" accent5="accent5" accent6="accent6" hlink="hlink" folHlink="folHlink"/>
  <p:sldLayoutIdLst>
    <p:sldLayoutId id="2147483696" r:id="rId1"/>
  </p:sldLayoutIdLst>
  <p:transition>
    <p:fade/>
  </p:transition>
  <p:txStyles>
    <p:titleStyle>
      <a:lvl1pPr algn="l" defTabSz="914180" rtl="0" eaLnBrk="1" latinLnBrk="0" hangingPunct="1">
        <a:lnSpc>
          <a:spcPct val="90000"/>
        </a:lnSpc>
        <a:spcBef>
          <a:spcPct val="0"/>
        </a:spcBef>
        <a:buNone/>
        <a:defRPr lang="en-US" sz="2940" b="0" kern="1200" cap="none" spc="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0" marR="0" indent="0" algn="l" defTabSz="914180" rtl="0" eaLnBrk="1" fontAlgn="auto" latinLnBrk="0" hangingPunct="1">
        <a:lnSpc>
          <a:spcPct val="100000"/>
        </a:lnSpc>
        <a:spcBef>
          <a:spcPts val="0"/>
        </a:spcBef>
        <a:spcAft>
          <a:spcPts val="588"/>
        </a:spcAft>
        <a:buClrTx/>
        <a:buSzPct val="90000"/>
        <a:buFont typeface="Arial" panose="020B0604020202020204" pitchFamily="34" charset="0"/>
        <a:buNone/>
        <a:tabLst/>
        <a:defRPr sz="1372"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2574" marR="0" indent="-236498" algn="l" defTabSz="914180" rtl="0" eaLnBrk="1" fontAlgn="auto" latinLnBrk="0" hangingPunct="1">
        <a:lnSpc>
          <a:spcPct val="100000"/>
        </a:lnSpc>
        <a:spcBef>
          <a:spcPts val="0"/>
        </a:spcBef>
        <a:spcAft>
          <a:spcPts val="588"/>
        </a:spcAft>
        <a:buClrTx/>
        <a:buSzPct val="90000"/>
        <a:buFont typeface="Arial" pitchFamily="34" charset="0"/>
        <a:buChar char="•"/>
        <a:tabLst/>
        <a:defRPr sz="980" b="0" kern="1200" spc="0" baseline="0">
          <a:gradFill>
            <a:gsLst>
              <a:gs pos="1250">
                <a:schemeClr val="tx1"/>
              </a:gs>
              <a:gs pos="100000">
                <a:schemeClr val="tx1"/>
              </a:gs>
            </a:gsLst>
            <a:lin ang="5400000" scaled="0"/>
          </a:gradFill>
          <a:latin typeface="Segoe UI Semibold"/>
          <a:ea typeface="+mn-ea"/>
          <a:cs typeface="Segoe UI Semibold"/>
        </a:defRPr>
      </a:lvl2pPr>
      <a:lvl3pPr marL="840191" marR="0" indent="-280064" algn="l" defTabSz="914180" rtl="0" eaLnBrk="1" fontAlgn="auto" latinLnBrk="0" hangingPunct="1">
        <a:lnSpc>
          <a:spcPct val="100000"/>
        </a:lnSpc>
        <a:spcBef>
          <a:spcPts val="0"/>
        </a:spcBef>
        <a:spcAft>
          <a:spcPts val="588"/>
        </a:spcAft>
        <a:buClrTx/>
        <a:buSzPct val="90000"/>
        <a:buFont typeface="Arial" panose="020B0604020202020204" pitchFamily="34" charset="0"/>
        <a:buChar char="•"/>
        <a:tabLst/>
        <a:defRPr sz="980" b="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297500"/>
            <a:ext cx="11653521" cy="168990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6"/>
          <a:stretch>
            <a:fillRect/>
          </a:stretch>
        </p:blipFill>
        <p:spPr>
          <a:xfrm rot="5400000">
            <a:off x="9208749" y="2991034"/>
            <a:ext cx="6858623" cy="876557"/>
          </a:xfrm>
          <a:prstGeom prst="rect">
            <a:avLst/>
          </a:prstGeom>
        </p:spPr>
      </p:pic>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724856314"/>
      </p:ext>
    </p:extLst>
  </p:cSld>
  <p:clrMap bg1="lt1" tx1="dk1" bg2="lt2" tx2="dk2" accent1="accent1" accent2="accent2" accent3="accent3" accent4="accent4" accent5="accent5" accent6="accent6" hlink="hlink" folHlink="folHlink"/>
  <p:transition>
    <p:fade/>
  </p:transition>
  <p:hf hdr="0" ftr="0" dt="0"/>
  <p:txStyles>
    <p:titleStyle>
      <a:lvl1pPr algn="l" defTabSz="914004" rtl="0" eaLnBrk="1" latinLnBrk="0" hangingPunct="1">
        <a:lnSpc>
          <a:spcPct val="90000"/>
        </a:lnSpc>
        <a:spcBef>
          <a:spcPct val="0"/>
        </a:spcBef>
        <a:buNone/>
        <a:defRPr lang="en-US" sz="3527"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14004" rtl="0" eaLnBrk="1" fontAlgn="auto" latinLnBrk="0" hangingPunct="1">
        <a:lnSpc>
          <a:spcPct val="90000"/>
        </a:lnSpc>
        <a:spcBef>
          <a:spcPct val="20000"/>
        </a:spcBef>
        <a:spcAft>
          <a:spcPts val="0"/>
        </a:spcAft>
        <a:buClrTx/>
        <a:buSzPct val="90000"/>
        <a:buFont typeface="Arial" pitchFamily="34" charset="0"/>
        <a:buNone/>
        <a:tabLst/>
        <a:defRPr sz="2744" kern="1200" spc="0" baseline="0">
          <a:solidFill>
            <a:schemeClr val="accent2"/>
          </a:soli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6652752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a:stretch>
            <a:fillRect/>
          </a:stretch>
        </p:blipFill>
        <p:spPr>
          <a:xfrm rot="5400000">
            <a:off x="9200967" y="2990410"/>
            <a:ext cx="6858623" cy="876557"/>
          </a:xfrm>
          <a:prstGeom prst="rect">
            <a:avLst/>
          </a:prstGeom>
        </p:spPr>
      </p:pic>
    </p:spTree>
    <p:extLst>
      <p:ext uri="{BB962C8B-B14F-4D97-AF65-F5344CB8AC3E}">
        <p14:creationId xmlns:p14="http://schemas.microsoft.com/office/powerpoint/2010/main" val="5953919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34585767"/>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70078183"/>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descr="NIST_Logo_3015_right_line.eps"/>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464800" y="6400801"/>
            <a:ext cx="1117600" cy="373101"/>
          </a:xfrm>
          <a:prstGeom prst="rect">
            <a:avLst/>
          </a:prstGeom>
        </p:spPr>
      </p:pic>
      <p:sp>
        <p:nvSpPr>
          <p:cNvPr id="20" name="Rectangle 19"/>
          <p:cNvSpPr/>
          <p:nvPr/>
        </p:nvSpPr>
        <p:spPr>
          <a:xfrm>
            <a:off x="0" y="0"/>
            <a:ext cx="12192000" cy="304800"/>
          </a:xfrm>
          <a:prstGeom prst="rect">
            <a:avLst/>
          </a:prstGeom>
          <a:solidFill>
            <a:srgbClr val="2083B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21" name="Straight Connector 20"/>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25" name="Title Placeholder 1"/>
          <p:cNvSpPr>
            <a:spLocks noGrp="1"/>
          </p:cNvSpPr>
          <p:nvPr>
            <p:ph type="title"/>
          </p:nvPr>
        </p:nvSpPr>
        <p:spPr bwMode="auto">
          <a:xfrm>
            <a:off x="609600" y="274638"/>
            <a:ext cx="10972800" cy="114300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6" name="Text Placeholder 2"/>
          <p:cNvSpPr>
            <a:spLocks noGrp="1"/>
          </p:cNvSpPr>
          <p:nvPr>
            <p:ph type="body" idx="1"/>
          </p:nvPr>
        </p:nvSpPr>
        <p:spPr bwMode="auto">
          <a:xfrm>
            <a:off x="609600" y="1600201"/>
            <a:ext cx="10972800" cy="452596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Tree>
    <p:extLst>
      <p:ext uri="{BB962C8B-B14F-4D97-AF65-F5344CB8AC3E}">
        <p14:creationId xmlns:p14="http://schemas.microsoft.com/office/powerpoint/2010/main" val="210644278"/>
      </p:ext>
    </p:extLst>
  </p:cSld>
  <p:clrMap bg1="lt1" tx1="dk1" bg2="lt2" tx2="dk2" accent1="accent1" accent2="accent2" accent3="accent3" accent4="accent4" accent5="accent5" accent6="accent6" hlink="hlink" folHlink="folHlink"/>
  <p:hf hdr="0" ftr="0" dt="0"/>
  <p:txStyles>
    <p:titleStyle>
      <a:lvl1pPr algn="l" defTabSz="457200" rtl="0" eaLnBrk="1" latinLnBrk="0" hangingPunct="1">
        <a:spcBef>
          <a:spcPct val="0"/>
        </a:spcBef>
        <a:buNone/>
        <a:defRPr sz="4400" kern="1200">
          <a:solidFill>
            <a:srgbClr val="2083B6"/>
          </a:solidFill>
          <a:latin typeface="Calibri"/>
          <a:ea typeface="+mj-ea"/>
          <a:cs typeface="Calibri"/>
        </a:defRPr>
      </a:lvl1pPr>
    </p:titleStyle>
    <p:bodyStyle>
      <a:lvl1pPr marL="342900" indent="-342900" algn="l" defTabSz="457200" rtl="0" eaLnBrk="1" latinLnBrk="0" hangingPunct="1">
        <a:spcBef>
          <a:spcPct val="20000"/>
        </a:spcBef>
        <a:buFont typeface="Arial"/>
        <a:buChar char="•"/>
        <a:defRPr sz="3200" kern="1200">
          <a:solidFill>
            <a:srgbClr val="2083B6"/>
          </a:solidFill>
          <a:latin typeface="Calibri"/>
          <a:ea typeface="+mn-ea"/>
          <a:cs typeface="Calibri"/>
        </a:defRPr>
      </a:lvl1pPr>
      <a:lvl2pPr marL="742950" indent="-285750" algn="l" defTabSz="457200" rtl="0" eaLnBrk="1" latinLnBrk="0" hangingPunct="1">
        <a:spcBef>
          <a:spcPct val="20000"/>
        </a:spcBef>
        <a:buFont typeface="Arial"/>
        <a:buChar char="–"/>
        <a:defRPr sz="2800" kern="1200">
          <a:solidFill>
            <a:srgbClr val="58595B"/>
          </a:solidFill>
          <a:latin typeface="Calibri"/>
          <a:ea typeface="+mn-ea"/>
          <a:cs typeface="Calibri"/>
        </a:defRPr>
      </a:lvl2pPr>
      <a:lvl3pPr marL="1143000" indent="-228600" algn="l" defTabSz="457200" rtl="0" eaLnBrk="1" latinLnBrk="0" hangingPunct="1">
        <a:spcBef>
          <a:spcPct val="20000"/>
        </a:spcBef>
        <a:buFont typeface="Arial"/>
        <a:buChar char="•"/>
        <a:defRPr sz="2400" kern="1200">
          <a:solidFill>
            <a:srgbClr val="58595B"/>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rgbClr val="58595B"/>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rgbClr val="58595B"/>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2718642096"/>
      </p:ext>
    </p:extLst>
  </p:cSld>
  <p:clrMap bg1="lt1" tx1="dk1" bg2="lt2" tx2="dk2" accent1="accent1" accent2="accent2" accent3="accent3" accent4="accent4" accent5="accent5" accent6="accent6" hlink="hlink" folHlink="folHlink"/>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microsoft.com/en-us/cloud-platform/microsoft-intune" TargetMode="External"/><Relationship Id="rId13" Type="http://schemas.openxmlformats.org/officeDocument/2006/relationships/hyperlink" Target="https://blogs.office.com/2013/10/28/office-365-compliance-controls-data-loss-prevention/" TargetMode="External"/><Relationship Id="rId18" Type="http://schemas.openxmlformats.org/officeDocument/2006/relationships/hyperlink" Target="https://docs.microsoft.com/en-us/azure/security/azure-security-antimalware" TargetMode="External"/><Relationship Id="rId3" Type="http://schemas.openxmlformats.org/officeDocument/2006/relationships/image" Target="../media/image7.png"/><Relationship Id="rId7" Type="http://schemas.openxmlformats.org/officeDocument/2006/relationships/hyperlink" Target="https://docs.microsoft.com/en-us/azure/security-center/security-center-intro" TargetMode="External"/><Relationship Id="rId12" Type="http://schemas.openxmlformats.org/officeDocument/2006/relationships/image" Target="../media/image10.png"/><Relationship Id="rId17" Type="http://schemas.openxmlformats.org/officeDocument/2006/relationships/hyperlink" Target="https://docs.microsoft.com/en-us/azure/application-gateway/application-gateway-web-application-firewall-overview" TargetMode="External"/><Relationship Id="rId2" Type="http://schemas.openxmlformats.org/officeDocument/2006/relationships/hyperlink" Target="https://www.microsoft.com/en-us/cloud-platform/cloud-app-security" TargetMode="External"/><Relationship Id="rId16" Type="http://schemas.openxmlformats.org/officeDocument/2006/relationships/hyperlink" Target="https://docs.microsoft.com/en-us/azure/key-vault/key-vault-overview" TargetMode="External"/><Relationship Id="rId1" Type="http://schemas.openxmlformats.org/officeDocument/2006/relationships/slideLayout" Target="../slideLayouts/slideLayout1.xml"/><Relationship Id="rId6" Type="http://schemas.openxmlformats.org/officeDocument/2006/relationships/image" Target="../media/image8.emf"/><Relationship Id="rId11" Type="http://schemas.openxmlformats.org/officeDocument/2006/relationships/hyperlink" Target="https://www.microsoft.com/en-us/cloud-platform/windows-server-security" TargetMode="External"/><Relationship Id="rId5" Type="http://schemas.openxmlformats.org/officeDocument/2006/relationships/hyperlink" Target="https://docs.microsoft.com/en-us/azure/active-directory/" TargetMode="External"/><Relationship Id="rId15" Type="http://schemas.openxmlformats.org/officeDocument/2006/relationships/hyperlink" Target="https://docs.microsoft.com/en-us/azure/azure-policy/azure-policy-introduction" TargetMode="External"/><Relationship Id="rId10" Type="http://schemas.openxmlformats.org/officeDocument/2006/relationships/image" Target="../media/image9.jpg"/><Relationship Id="rId4" Type="http://schemas.openxmlformats.org/officeDocument/2006/relationships/hyperlink" Target="https://docs.microsoft.com/en-us/azure-advanced-threat-protection/" TargetMode="External"/><Relationship Id="rId9" Type="http://schemas.openxmlformats.org/officeDocument/2006/relationships/hyperlink" Target="https://www.microsoft.com/en-us/WindowsForBusiness/windows-atp" TargetMode="External"/><Relationship Id="rId1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C81C4004-5C85-4AAC-AC4C-BD6E2C0A6F12}"/>
              </a:ext>
            </a:extLst>
          </p:cNvPr>
          <p:cNvSpPr/>
          <p:nvPr/>
        </p:nvSpPr>
        <p:spPr bwMode="auto">
          <a:xfrm>
            <a:off x="0" y="596716"/>
            <a:ext cx="12192000" cy="1070710"/>
          </a:xfrm>
          <a:prstGeom prst="rect">
            <a:avLst/>
          </a:prstGeom>
          <a:gradFill flip="none" rotWithShape="1">
            <a:gsLst>
              <a:gs pos="0">
                <a:schemeClr val="bg1"/>
              </a:gs>
              <a:gs pos="100000">
                <a:srgbClr val="BDB9B9"/>
              </a:gs>
            </a:gsLst>
            <a:lin ang="0" scaled="1"/>
            <a:tileRect/>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cs typeface="Segoe UI" pitchFamily="34" charset="0"/>
            </a:endParaRPr>
          </a:p>
        </p:txBody>
      </p:sp>
      <p:sp>
        <p:nvSpPr>
          <p:cNvPr id="62" name="Rectangle 61">
            <a:extLst>
              <a:ext uri="{FF2B5EF4-FFF2-40B4-BE49-F238E27FC236}">
                <a16:creationId xmlns:a16="http://schemas.microsoft.com/office/drawing/2014/main" id="{618034E3-B31C-453C-AAA8-666438EC97D8}"/>
              </a:ext>
            </a:extLst>
          </p:cNvPr>
          <p:cNvSpPr/>
          <p:nvPr/>
        </p:nvSpPr>
        <p:spPr bwMode="auto">
          <a:xfrm>
            <a:off x="0" y="1680015"/>
            <a:ext cx="12192000" cy="1029215"/>
          </a:xfrm>
          <a:prstGeom prst="rect">
            <a:avLst/>
          </a:prstGeom>
          <a:gradFill flip="none" rotWithShape="1">
            <a:gsLst>
              <a:gs pos="0">
                <a:schemeClr val="bg1"/>
              </a:gs>
              <a:gs pos="100000">
                <a:srgbClr val="FFCF14"/>
              </a:gs>
            </a:gsLst>
            <a:lin ang="0" scaled="1"/>
            <a:tileRect/>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cs typeface="Segoe UI" pitchFamily="34" charset="0"/>
            </a:endParaRPr>
          </a:p>
        </p:txBody>
      </p:sp>
      <p:sp>
        <p:nvSpPr>
          <p:cNvPr id="63" name="Rectangle 62">
            <a:extLst>
              <a:ext uri="{FF2B5EF4-FFF2-40B4-BE49-F238E27FC236}">
                <a16:creationId xmlns:a16="http://schemas.microsoft.com/office/drawing/2014/main" id="{BF96136C-FF9A-4C0E-9DAB-67B29F5A6DCC}"/>
              </a:ext>
            </a:extLst>
          </p:cNvPr>
          <p:cNvSpPr/>
          <p:nvPr/>
        </p:nvSpPr>
        <p:spPr bwMode="auto">
          <a:xfrm>
            <a:off x="0" y="2700783"/>
            <a:ext cx="12192000" cy="2248840"/>
          </a:xfrm>
          <a:prstGeom prst="rect">
            <a:avLst/>
          </a:prstGeom>
          <a:gradFill flip="none" rotWithShape="1">
            <a:gsLst>
              <a:gs pos="0">
                <a:schemeClr val="bg1"/>
              </a:gs>
              <a:gs pos="100000">
                <a:srgbClr val="F18976"/>
              </a:gs>
            </a:gsLst>
            <a:lin ang="0" scaled="1"/>
            <a:tileRect/>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cs typeface="Segoe UI" pitchFamily="34" charset="0"/>
            </a:endParaRPr>
          </a:p>
        </p:txBody>
      </p:sp>
      <p:sp>
        <p:nvSpPr>
          <p:cNvPr id="65" name="Rectangle 64">
            <a:extLst>
              <a:ext uri="{FF2B5EF4-FFF2-40B4-BE49-F238E27FC236}">
                <a16:creationId xmlns:a16="http://schemas.microsoft.com/office/drawing/2014/main" id="{CD7D2D2A-FE6C-4975-97D8-E40B6BEB9E5F}"/>
              </a:ext>
            </a:extLst>
          </p:cNvPr>
          <p:cNvSpPr/>
          <p:nvPr/>
        </p:nvSpPr>
        <p:spPr bwMode="auto">
          <a:xfrm>
            <a:off x="-2615" y="4940965"/>
            <a:ext cx="12211284" cy="1897680"/>
          </a:xfrm>
          <a:prstGeom prst="rect">
            <a:avLst/>
          </a:prstGeom>
          <a:gradFill flip="none" rotWithShape="1">
            <a:gsLst>
              <a:gs pos="0">
                <a:schemeClr val="bg1"/>
              </a:gs>
              <a:gs pos="100000">
                <a:srgbClr val="94D7F1"/>
              </a:gs>
            </a:gsLst>
            <a:lin ang="0" scaled="1"/>
            <a:tileRect/>
          </a:gradFill>
          <a:ln w="571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cs typeface="Segoe UI" pitchFamily="34" charset="0"/>
            </a:endParaRPr>
          </a:p>
        </p:txBody>
      </p:sp>
      <p:grpSp>
        <p:nvGrpSpPr>
          <p:cNvPr id="275" name="Group 274">
            <a:extLst>
              <a:ext uri="{FF2B5EF4-FFF2-40B4-BE49-F238E27FC236}">
                <a16:creationId xmlns:a16="http://schemas.microsoft.com/office/drawing/2014/main" id="{0B0E4B9D-9DB7-4079-9982-A28918C044FE}"/>
              </a:ext>
            </a:extLst>
          </p:cNvPr>
          <p:cNvGrpSpPr/>
          <p:nvPr/>
        </p:nvGrpSpPr>
        <p:grpSpPr>
          <a:xfrm>
            <a:off x="2619530" y="2920570"/>
            <a:ext cx="1132159" cy="420597"/>
            <a:chOff x="7024059" y="3504481"/>
            <a:chExt cx="1132159" cy="420597"/>
          </a:xfrm>
        </p:grpSpPr>
        <p:sp>
          <p:nvSpPr>
            <p:cNvPr id="5" name="Rectangle 4">
              <a:hlinkClick r:id="rId2"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8B80A270-A039-4EA1-9EB4-B3857D93BFF8}"/>
                </a:ext>
              </a:extLst>
            </p:cNvPr>
            <p:cNvSpPr/>
            <p:nvPr/>
          </p:nvSpPr>
          <p:spPr>
            <a:xfrm>
              <a:off x="7024059" y="3504481"/>
              <a:ext cx="1132159" cy="420597"/>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324000" rIns="45720" rtlCol="0" anchor="ctr">
              <a:noAutofit/>
            </a:bodyPr>
            <a:lstStyle/>
            <a:p>
              <a:pPr algn="ctr">
                <a:lnSpc>
                  <a:spcPct val="97000"/>
                </a:lnSpc>
              </a:pPr>
              <a:r>
                <a:rPr lang="en-US" sz="1200" b="1"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Cloud App Security</a:t>
              </a:r>
            </a:p>
          </p:txBody>
        </p:sp>
        <p:pic>
          <p:nvPicPr>
            <p:cNvPr id="6" name="Picture 5">
              <a:extLst>
                <a:ext uri="{FF2B5EF4-FFF2-40B4-BE49-F238E27FC236}">
                  <a16:creationId xmlns:a16="http://schemas.microsoft.com/office/drawing/2014/main" id="{C0EDE014-A73F-4976-A091-C3C9E947BC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65221" y="3560909"/>
              <a:ext cx="289245" cy="234522"/>
            </a:xfrm>
            <a:prstGeom prst="rect">
              <a:avLst/>
            </a:prstGeom>
          </p:spPr>
        </p:pic>
      </p:grpSp>
      <p:sp>
        <p:nvSpPr>
          <p:cNvPr id="11" name="Rectangle 10">
            <a:hlinkClick r:id="rId4"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30529083-4E8C-4E06-882D-38A385AA374D}"/>
              </a:ext>
            </a:extLst>
          </p:cNvPr>
          <p:cNvSpPr/>
          <p:nvPr/>
        </p:nvSpPr>
        <p:spPr>
          <a:xfrm>
            <a:off x="175537" y="2914121"/>
            <a:ext cx="933995" cy="27148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grpSp>
        <p:nvGrpSpPr>
          <p:cNvPr id="13" name="Group 12">
            <a:extLst>
              <a:ext uri="{FF2B5EF4-FFF2-40B4-BE49-F238E27FC236}">
                <a16:creationId xmlns:a16="http://schemas.microsoft.com/office/drawing/2014/main" id="{557F152F-A062-4865-AF40-191FB20B0857}"/>
              </a:ext>
            </a:extLst>
          </p:cNvPr>
          <p:cNvGrpSpPr/>
          <p:nvPr/>
        </p:nvGrpSpPr>
        <p:grpSpPr>
          <a:xfrm>
            <a:off x="1285023" y="2911632"/>
            <a:ext cx="1144155" cy="429535"/>
            <a:chOff x="10425640" y="1598591"/>
            <a:chExt cx="1316245" cy="429535"/>
          </a:xfrm>
        </p:grpSpPr>
        <p:sp>
          <p:nvSpPr>
            <p:cNvPr id="9" name="Rectangle 8">
              <a:hlinkClick r:id="rId5"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934D27E6-C80A-4F7E-882B-394C9C4A9824}"/>
                </a:ext>
              </a:extLst>
            </p:cNvPr>
            <p:cNvSpPr/>
            <p:nvPr/>
          </p:nvSpPr>
          <p:spPr>
            <a:xfrm>
              <a:off x="10873598" y="1602113"/>
              <a:ext cx="828675"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a:t>
              </a:r>
              <a:b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a:t>
              </a:r>
            </a:p>
          </p:txBody>
        </p:sp>
        <p:pic>
          <p:nvPicPr>
            <p:cNvPr id="10" name="Picture 9">
              <a:extLst>
                <a:ext uri="{FF2B5EF4-FFF2-40B4-BE49-F238E27FC236}">
                  <a16:creationId xmlns:a16="http://schemas.microsoft.com/office/drawing/2014/main" id="{6240F243-AB87-4EB7-95B2-BC9155791A30}"/>
                </a:ext>
              </a:extLst>
            </p:cNvPr>
            <p:cNvPicPr>
              <a:picLocks noChangeAspect="1"/>
            </p:cNvPicPr>
            <p:nvPr/>
          </p:nvPicPr>
          <p:blipFill>
            <a:blip r:embed="rId6">
              <a:duotone>
                <a:schemeClr val="accent1">
                  <a:shade val="45000"/>
                  <a:satMod val="135000"/>
                </a:schemeClr>
                <a:prstClr val="white"/>
              </a:duotone>
              <a:lum bright="-20000" contrast="40000"/>
            </a:blip>
            <a:stretch>
              <a:fillRect/>
            </a:stretch>
          </p:blipFill>
          <p:spPr>
            <a:xfrm>
              <a:off x="10477825" y="1644792"/>
              <a:ext cx="278831" cy="278832"/>
            </a:xfrm>
            <a:prstGeom prst="rect">
              <a:avLst/>
            </a:prstGeom>
          </p:spPr>
        </p:pic>
        <p:sp>
          <p:nvSpPr>
            <p:cNvPr id="12" name="Rectangle 11">
              <a:extLst>
                <a:ext uri="{FF2B5EF4-FFF2-40B4-BE49-F238E27FC236}">
                  <a16:creationId xmlns:a16="http://schemas.microsoft.com/office/drawing/2014/main" id="{27E8A7F9-A06D-4ECF-B682-06D36161A0A5}"/>
                </a:ext>
              </a:extLst>
            </p:cNvPr>
            <p:cNvSpPr/>
            <p:nvPr/>
          </p:nvSpPr>
          <p:spPr bwMode="auto">
            <a:xfrm>
              <a:off x="10425640" y="1598591"/>
              <a:ext cx="1316245" cy="42953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endParaRPr lang="en-AU" sz="1200" b="1" dirty="0" err="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grpSp>
      <p:sp>
        <p:nvSpPr>
          <p:cNvPr id="20" name="Rectangle 19">
            <a:hlinkClick r:id="rId7" tooltip="Azure Security Center is built into the Azure platform and provides cross-platform threat protection and detection across clouds and on-premises. "/>
            <a:extLst>
              <a:ext uri="{FF2B5EF4-FFF2-40B4-BE49-F238E27FC236}">
                <a16:creationId xmlns:a16="http://schemas.microsoft.com/office/drawing/2014/main" id="{B7CA7F90-3D43-4C2C-86A5-EC130FB49BBD}"/>
              </a:ext>
            </a:extLst>
          </p:cNvPr>
          <p:cNvSpPr/>
          <p:nvPr/>
        </p:nvSpPr>
        <p:spPr>
          <a:xfrm>
            <a:off x="6909634" y="2046946"/>
            <a:ext cx="3242305" cy="423189"/>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0078D7"/>
                    </a:gs>
                    <a:gs pos="100000">
                      <a:srgbClr val="0078D7"/>
                    </a:gs>
                  </a:gsLst>
                  <a:lin ang="5400000" scaled="1"/>
                </a:gradFill>
                <a:effectLst/>
                <a:uLnTx/>
                <a:uFillTx/>
                <a:ea typeface="+mn-ea"/>
                <a:cs typeface="Segoe UI" panose="020B0502040204020203" pitchFamily="34" charset="0"/>
              </a:rPr>
              <a:t>Azure Security Center</a:t>
            </a:r>
          </a:p>
        </p:txBody>
      </p:sp>
      <p:sp>
        <p:nvSpPr>
          <p:cNvPr id="64" name="Rectangle 63">
            <a:hlinkClick r:id="rId8" tooltip="Microsoft Intune provides mobile device management, mobile application management, and PC management capabilities from the cloud. "/>
            <a:extLst>
              <a:ext uri="{FF2B5EF4-FFF2-40B4-BE49-F238E27FC236}">
                <a16:creationId xmlns:a16="http://schemas.microsoft.com/office/drawing/2014/main" id="{366E5796-48A5-4FBD-8D2B-C574DE4584F5}"/>
              </a:ext>
            </a:extLst>
          </p:cNvPr>
          <p:cNvSpPr/>
          <p:nvPr/>
        </p:nvSpPr>
        <p:spPr>
          <a:xfrm>
            <a:off x="6761046" y="3932939"/>
            <a:ext cx="1490472" cy="45063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cs typeface="Segoe UI" panose="020B0502040204020203" pitchFamily="34" charset="0"/>
              </a:rPr>
              <a:t>Microsoft Endpoint Manager </a:t>
            </a:r>
            <a:r>
              <a:rPr lang="en-US" sz="1200" b="1"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t>
            </a: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cs typeface="Segoe UI" panose="020B0502040204020203" pitchFamily="34" charset="0"/>
              </a:rPr>
              <a:t>Intune)</a:t>
            </a:r>
          </a:p>
        </p:txBody>
      </p:sp>
      <p:grpSp>
        <p:nvGrpSpPr>
          <p:cNvPr id="4" name="Group 3">
            <a:extLst>
              <a:ext uri="{FF2B5EF4-FFF2-40B4-BE49-F238E27FC236}">
                <a16:creationId xmlns:a16="http://schemas.microsoft.com/office/drawing/2014/main" id="{1846A86A-A0F6-4C1A-A6BA-58ED227F9E45}"/>
              </a:ext>
            </a:extLst>
          </p:cNvPr>
          <p:cNvGrpSpPr/>
          <p:nvPr/>
        </p:nvGrpSpPr>
        <p:grpSpPr>
          <a:xfrm>
            <a:off x="5907559" y="2912053"/>
            <a:ext cx="1530464" cy="638259"/>
            <a:chOff x="5983757" y="3042681"/>
            <a:chExt cx="1530464" cy="638259"/>
          </a:xfrm>
          <a:solidFill>
            <a:schemeClr val="bg1"/>
          </a:solidFill>
        </p:grpSpPr>
        <p:sp>
          <p:nvSpPr>
            <p:cNvPr id="144" name="Rectangle 143">
              <a:hlinkClick r:id="rId9"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13557256-7524-4FBA-A99F-19460DB8CB6C}"/>
                </a:ext>
              </a:extLst>
            </p:cNvPr>
            <p:cNvSpPr/>
            <p:nvPr/>
          </p:nvSpPr>
          <p:spPr>
            <a:xfrm>
              <a:off x="5983757" y="3042681"/>
              <a:ext cx="1530464" cy="638259"/>
            </a:xfrm>
            <a:prstGeom prst="rect">
              <a:avLst/>
            </a:prstGeom>
            <a:grp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252000" rIns="4572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9388" marR="0" lvl="0" defTabSz="914400" rtl="0" eaLnBrk="1" fontAlgn="auto" latinLnBrk="0" hangingPunct="1">
                <a:lnSpc>
                  <a:spcPct val="97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p>
          </p:txBody>
        </p:sp>
        <p:pic>
          <p:nvPicPr>
            <p:cNvPr id="145" name="Picture 144">
              <a:extLst>
                <a:ext uri="{FF2B5EF4-FFF2-40B4-BE49-F238E27FC236}">
                  <a16:creationId xmlns:a16="http://schemas.microsoft.com/office/drawing/2014/main" id="{9AC30009-5C30-452D-90CD-6213593652FE}"/>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086241" y="3236428"/>
              <a:ext cx="254480" cy="254480"/>
            </a:xfrm>
            <a:prstGeom prst="rect">
              <a:avLst/>
            </a:prstGeom>
            <a:grpFill/>
          </p:spPr>
        </p:pic>
      </p:grpSp>
      <p:grpSp>
        <p:nvGrpSpPr>
          <p:cNvPr id="3" name="Group 2">
            <a:extLst>
              <a:ext uri="{FF2B5EF4-FFF2-40B4-BE49-F238E27FC236}">
                <a16:creationId xmlns:a16="http://schemas.microsoft.com/office/drawing/2014/main" id="{59FCA5A4-D0B8-43A0-8DA8-C6E3976FE908}"/>
              </a:ext>
            </a:extLst>
          </p:cNvPr>
          <p:cNvGrpSpPr/>
          <p:nvPr/>
        </p:nvGrpSpPr>
        <p:grpSpPr>
          <a:xfrm>
            <a:off x="8048494" y="5183005"/>
            <a:ext cx="1709223" cy="800935"/>
            <a:chOff x="8518913" y="5183005"/>
            <a:chExt cx="1709223" cy="800935"/>
          </a:xfrm>
        </p:grpSpPr>
        <p:sp>
          <p:nvSpPr>
            <p:cNvPr id="219" name="Rounded Rectangle 1458">
              <a:hlinkClick r:id="rId11"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2EEC8D66-384C-460E-9FA2-3C9CF1993524}"/>
                </a:ext>
              </a:extLst>
            </p:cNvPr>
            <p:cNvSpPr/>
            <p:nvPr/>
          </p:nvSpPr>
          <p:spPr>
            <a:xfrm>
              <a:off x="8518913" y="5183005"/>
              <a:ext cx="1709223" cy="800935"/>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55600" tIns="0" rIns="45720" bIns="45720" rtlCol="0" anchor="ctr"/>
            <a:lstStyle/>
            <a:p>
              <a:pPr marL="114300" marR="0" lvl="0" indent="0" defTabSz="914400" rtl="0" eaLnBrk="1" fontAlgn="auto" latinLnBrk="0" hangingPunct="1">
                <a:lnSpc>
                  <a:spcPct val="97000"/>
                </a:lnSpc>
                <a:spcBef>
                  <a:spcPts val="0"/>
                </a:spcBef>
                <a:spcAft>
                  <a:spcPts val="20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orkloads</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M, PaaS, Networking, Storage, Serverless, Containers</a:t>
              </a:r>
            </a:p>
          </p:txBody>
        </p:sp>
        <p:pic>
          <p:nvPicPr>
            <p:cNvPr id="231" name="Picture 230">
              <a:extLst>
                <a:ext uri="{FF2B5EF4-FFF2-40B4-BE49-F238E27FC236}">
                  <a16:creationId xmlns:a16="http://schemas.microsoft.com/office/drawing/2014/main" id="{7C417854-E992-4237-8E28-1BE260C5C79A}"/>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0993" y="5468203"/>
              <a:ext cx="222290" cy="198006"/>
            </a:xfrm>
            <a:prstGeom prst="rect">
              <a:avLst/>
            </a:prstGeom>
          </p:spPr>
        </p:pic>
      </p:grpSp>
      <p:grpSp>
        <p:nvGrpSpPr>
          <p:cNvPr id="245" name="Group 244">
            <a:extLst>
              <a:ext uri="{FF2B5EF4-FFF2-40B4-BE49-F238E27FC236}">
                <a16:creationId xmlns:a16="http://schemas.microsoft.com/office/drawing/2014/main" id="{588603A6-D865-45BB-B3D4-7861AB8935E7}"/>
              </a:ext>
            </a:extLst>
          </p:cNvPr>
          <p:cNvGrpSpPr/>
          <p:nvPr/>
        </p:nvGrpSpPr>
        <p:grpSpPr>
          <a:xfrm>
            <a:off x="4275255" y="2911633"/>
            <a:ext cx="1316736" cy="638680"/>
            <a:chOff x="5235878" y="4665227"/>
            <a:chExt cx="1316736" cy="638680"/>
          </a:xfrm>
        </p:grpSpPr>
        <p:sp>
          <p:nvSpPr>
            <p:cNvPr id="240" name="Rectangle 239">
              <a:hlinkClick r:id="rId13"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771B1E07-29D7-4929-811A-0123771CFD8A}"/>
                </a:ext>
              </a:extLst>
            </p:cNvPr>
            <p:cNvSpPr/>
            <p:nvPr/>
          </p:nvSpPr>
          <p:spPr>
            <a:xfrm>
              <a:off x="5235878" y="4665227"/>
              <a:ext cx="1316736" cy="638680"/>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t"/>
            <a:lstStyle/>
            <a:p>
              <a:pPr marL="114300">
                <a:lnSpc>
                  <a:spcPct val="97000"/>
                </a:lnSpc>
                <a:spcAft>
                  <a:spcPts val="200"/>
                </a:spcAft>
              </a:pPr>
              <a:r>
                <a:rPr lang="en-US" sz="1200" b="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Office ATP</a:t>
              </a:r>
              <a:endParaRPr lang="en-US" sz="1200" b="1"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grpSp>
          <p:nvGrpSpPr>
            <p:cNvPr id="244" name="Group 243">
              <a:extLst>
                <a:ext uri="{FF2B5EF4-FFF2-40B4-BE49-F238E27FC236}">
                  <a16:creationId xmlns:a16="http://schemas.microsoft.com/office/drawing/2014/main" id="{3405B0BA-F72A-4FEA-BE96-8DF2F0B04A8C}"/>
                </a:ext>
              </a:extLst>
            </p:cNvPr>
            <p:cNvGrpSpPr/>
            <p:nvPr/>
          </p:nvGrpSpPr>
          <p:grpSpPr>
            <a:xfrm>
              <a:off x="5373176" y="4930198"/>
              <a:ext cx="1042140" cy="301032"/>
              <a:chOff x="5327559" y="4899189"/>
              <a:chExt cx="1042140" cy="301032"/>
            </a:xfrm>
          </p:grpSpPr>
          <p:pic>
            <p:nvPicPr>
              <p:cNvPr id="241" name="Picture 240">
                <a:extLst>
                  <a:ext uri="{FF2B5EF4-FFF2-40B4-BE49-F238E27FC236}">
                    <a16:creationId xmlns:a16="http://schemas.microsoft.com/office/drawing/2014/main" id="{3369BE72-0701-4258-9616-C1BC1C53AB4F}"/>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395666" y="4945277"/>
                <a:ext cx="166638" cy="217387"/>
              </a:xfrm>
              <a:prstGeom prst="rect">
                <a:avLst/>
              </a:prstGeom>
              <a:solidFill>
                <a:schemeClr val="bg1"/>
              </a:solidFill>
            </p:spPr>
          </p:pic>
          <p:sp>
            <p:nvSpPr>
              <p:cNvPr id="233" name="Rectangle 232">
                <a:extLst>
                  <a:ext uri="{FF2B5EF4-FFF2-40B4-BE49-F238E27FC236}">
                    <a16:creationId xmlns:a16="http://schemas.microsoft.com/office/drawing/2014/main" id="{5B21A880-9D16-4BFB-8979-CF26469B7351}"/>
                  </a:ext>
                </a:extLst>
              </p:cNvPr>
              <p:cNvSpPr/>
              <p:nvPr/>
            </p:nvSpPr>
            <p:spPr>
              <a:xfrm>
                <a:off x="5612624" y="4993816"/>
                <a:ext cx="690895" cy="18466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B3C00"/>
                    </a:solidFill>
                    <a:effectLst/>
                    <a:uLnTx/>
                    <a:uFillTx/>
                    <a:latin typeface="Segoe UI"/>
                    <a:ea typeface="+mn-ea"/>
                    <a:cs typeface="Segoe UI Light" panose="020B0502040204020203" pitchFamily="34" charset="0"/>
                  </a:rPr>
                  <a:t>Office 365</a:t>
                </a:r>
              </a:p>
            </p:txBody>
          </p:sp>
          <p:sp>
            <p:nvSpPr>
              <p:cNvPr id="243" name="Rectangle 242">
                <a:extLst>
                  <a:ext uri="{FF2B5EF4-FFF2-40B4-BE49-F238E27FC236}">
                    <a16:creationId xmlns:a16="http://schemas.microsoft.com/office/drawing/2014/main" id="{64FFA0EB-E8B5-4DDB-AA7A-D66224F2CC43}"/>
                  </a:ext>
                </a:extLst>
              </p:cNvPr>
              <p:cNvSpPr/>
              <p:nvPr/>
            </p:nvSpPr>
            <p:spPr bwMode="auto">
              <a:xfrm>
                <a:off x="5327559" y="4899189"/>
                <a:ext cx="1042140" cy="301032"/>
              </a:xfrm>
              <a:prstGeom prst="rect">
                <a:avLst/>
              </a:prstGeom>
              <a:noFill/>
              <a:ln w="14224">
                <a:solidFill>
                  <a:srgbClr val="EB3C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endParaRPr lang="en-AU" sz="1200" b="1" dirty="0" err="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grpSp>
      </p:grpSp>
      <p:grpSp>
        <p:nvGrpSpPr>
          <p:cNvPr id="277" name="Group 276">
            <a:extLst>
              <a:ext uri="{FF2B5EF4-FFF2-40B4-BE49-F238E27FC236}">
                <a16:creationId xmlns:a16="http://schemas.microsoft.com/office/drawing/2014/main" id="{BA35B25C-71CE-4580-AD70-3E13B391DEC7}"/>
              </a:ext>
            </a:extLst>
          </p:cNvPr>
          <p:cNvGrpSpPr/>
          <p:nvPr/>
        </p:nvGrpSpPr>
        <p:grpSpPr>
          <a:xfrm>
            <a:off x="244414" y="5195184"/>
            <a:ext cx="1857732" cy="702699"/>
            <a:chOff x="290963" y="3861825"/>
            <a:chExt cx="1857732" cy="702699"/>
          </a:xfrm>
          <a:solidFill>
            <a:schemeClr val="bg1"/>
          </a:solidFill>
        </p:grpSpPr>
        <p:sp>
          <p:nvSpPr>
            <p:cNvPr id="262" name="Rectangle 261">
              <a:extLst>
                <a:ext uri="{FF2B5EF4-FFF2-40B4-BE49-F238E27FC236}">
                  <a16:creationId xmlns:a16="http://schemas.microsoft.com/office/drawing/2014/main" id="{474C6D7B-96C1-46F0-A102-79E83192112D}"/>
                </a:ext>
              </a:extLst>
            </p:cNvPr>
            <p:cNvSpPr/>
            <p:nvPr/>
          </p:nvSpPr>
          <p:spPr bwMode="auto">
            <a:xfrm>
              <a:off x="290963" y="3861825"/>
              <a:ext cx="1857732" cy="702699"/>
            </a:xfrm>
            <a:prstGeom prst="rect">
              <a:avLst/>
            </a:prstGeom>
            <a:grp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algn="ctr">
                <a:lnSpc>
                  <a:spcPct val="97000"/>
                </a:lnSpc>
              </a:pPr>
              <a:r>
                <a:rPr lang="en-AU" sz="1200" b="1"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Identity</a:t>
              </a:r>
            </a:p>
          </p:txBody>
        </p:sp>
        <p:sp>
          <p:nvSpPr>
            <p:cNvPr id="264" name="Rectangle 263">
              <a:hlinkClick r:id="rId1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7D274496-0E54-43AE-9A7F-673D73409205}"/>
                </a:ext>
              </a:extLst>
            </p:cNvPr>
            <p:cNvSpPr/>
            <p:nvPr/>
          </p:nvSpPr>
          <p:spPr>
            <a:xfrm>
              <a:off x="375370" y="4319147"/>
              <a:ext cx="445887" cy="1794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lgn="ctr">
                <a:defRPr/>
              </a:pPr>
              <a:r>
                <a:rPr kumimoji="0" lang="en-US" altLang="en-US" sz="9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t>
              </a:r>
            </a:p>
          </p:txBody>
        </p:sp>
        <p:sp>
          <p:nvSpPr>
            <p:cNvPr id="266" name="Rectangle 265">
              <a:hlinkClick r:id="rId1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58A291C-7D16-4086-9A99-0D14C77B40F0}"/>
                </a:ext>
              </a:extLst>
            </p:cNvPr>
            <p:cNvSpPr/>
            <p:nvPr/>
          </p:nvSpPr>
          <p:spPr>
            <a:xfrm>
              <a:off x="821801" y="4319146"/>
              <a:ext cx="618266" cy="185693"/>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lgn="ctr">
                <a:defRPr/>
              </a:pPr>
              <a:r>
                <a:rPr kumimoji="0" lang="en-US" altLang="en-US" sz="9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D</a:t>
              </a:r>
            </a:p>
          </p:txBody>
        </p:sp>
        <p:sp>
          <p:nvSpPr>
            <p:cNvPr id="268" name="Rectangle 267">
              <a:hlinkClick r:id="rId1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D28BAFF3-B910-4C43-A02A-79CDDF472CC9}"/>
                </a:ext>
              </a:extLst>
            </p:cNvPr>
            <p:cNvSpPr/>
            <p:nvPr/>
          </p:nvSpPr>
          <p:spPr>
            <a:xfrm>
              <a:off x="1450380" y="4312923"/>
              <a:ext cx="618266" cy="185693"/>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lgn="ctr">
                <a:defRPr/>
              </a:pPr>
              <a:r>
                <a:rPr kumimoji="0" lang="en-US" altLang="en-US" sz="9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Social ID</a:t>
              </a:r>
            </a:p>
          </p:txBody>
        </p:sp>
      </p:grpSp>
      <p:grpSp>
        <p:nvGrpSpPr>
          <p:cNvPr id="276" name="Group 275">
            <a:extLst>
              <a:ext uri="{FF2B5EF4-FFF2-40B4-BE49-F238E27FC236}">
                <a16:creationId xmlns:a16="http://schemas.microsoft.com/office/drawing/2014/main" id="{98639354-747F-4395-AFD8-C76664682EE2}"/>
              </a:ext>
            </a:extLst>
          </p:cNvPr>
          <p:cNvGrpSpPr/>
          <p:nvPr/>
        </p:nvGrpSpPr>
        <p:grpSpPr>
          <a:xfrm>
            <a:off x="5152990" y="5166644"/>
            <a:ext cx="1858276" cy="1577048"/>
            <a:chOff x="5357960" y="3479105"/>
            <a:chExt cx="1858276" cy="1577048"/>
          </a:xfrm>
        </p:grpSpPr>
        <p:grpSp>
          <p:nvGrpSpPr>
            <p:cNvPr id="153" name="Group 152">
              <a:extLst>
                <a:ext uri="{FF2B5EF4-FFF2-40B4-BE49-F238E27FC236}">
                  <a16:creationId xmlns:a16="http://schemas.microsoft.com/office/drawing/2014/main" id="{8B798684-4D75-48EC-B65C-FB0C3D97A6CC}"/>
                </a:ext>
              </a:extLst>
            </p:cNvPr>
            <p:cNvGrpSpPr/>
            <p:nvPr/>
          </p:nvGrpSpPr>
          <p:grpSpPr>
            <a:xfrm>
              <a:off x="5589927" y="3481354"/>
              <a:ext cx="1409447" cy="622432"/>
              <a:chOff x="3109394" y="3692955"/>
              <a:chExt cx="1409447" cy="622432"/>
            </a:xfrm>
          </p:grpSpPr>
          <p:grpSp>
            <p:nvGrpSpPr>
              <p:cNvPr id="21" name="Group 20">
                <a:extLst>
                  <a:ext uri="{FF2B5EF4-FFF2-40B4-BE49-F238E27FC236}">
                    <a16:creationId xmlns:a16="http://schemas.microsoft.com/office/drawing/2014/main" id="{2CB0842A-55C9-48DA-B3A7-287220C838E2}"/>
                  </a:ext>
                </a:extLst>
              </p:cNvPr>
              <p:cNvGrpSpPr/>
              <p:nvPr/>
            </p:nvGrpSpPr>
            <p:grpSpPr>
              <a:xfrm>
                <a:off x="4136755" y="4026964"/>
                <a:ext cx="382086" cy="288422"/>
                <a:chOff x="7987238" y="1610486"/>
                <a:chExt cx="506061" cy="382007"/>
              </a:xfrm>
            </p:grpSpPr>
            <p:sp>
              <p:nvSpPr>
                <p:cNvPr id="22" name="Rectangle 21">
                  <a:extLst>
                    <a:ext uri="{FF2B5EF4-FFF2-40B4-BE49-F238E27FC236}">
                      <a16:creationId xmlns:a16="http://schemas.microsoft.com/office/drawing/2014/main" id="{192D5E1C-12A1-403D-9C86-0FE0BAAFD591}"/>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 name="Group 22">
                  <a:extLst>
                    <a:ext uri="{FF2B5EF4-FFF2-40B4-BE49-F238E27FC236}">
                      <a16:creationId xmlns:a16="http://schemas.microsoft.com/office/drawing/2014/main" id="{EB311237-BF82-422E-893B-48EBD95BD04F}"/>
                    </a:ext>
                  </a:extLst>
                </p:cNvPr>
                <p:cNvGrpSpPr/>
                <p:nvPr/>
              </p:nvGrpSpPr>
              <p:grpSpPr>
                <a:xfrm>
                  <a:off x="7987238" y="1610486"/>
                  <a:ext cx="498447" cy="382007"/>
                  <a:chOff x="9563138" y="2462727"/>
                  <a:chExt cx="516394" cy="395761"/>
                </a:xfrm>
              </p:grpSpPr>
              <p:sp>
                <p:nvSpPr>
                  <p:cNvPr id="24" name="monitor">
                    <a:extLst>
                      <a:ext uri="{FF2B5EF4-FFF2-40B4-BE49-F238E27FC236}">
                        <a16:creationId xmlns:a16="http://schemas.microsoft.com/office/drawing/2014/main" id="{69B94E66-09AF-4545-ABE8-861D3A4CD291}"/>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25" name="Group 24">
                    <a:extLst>
                      <a:ext uri="{FF2B5EF4-FFF2-40B4-BE49-F238E27FC236}">
                        <a16:creationId xmlns:a16="http://schemas.microsoft.com/office/drawing/2014/main" id="{E025E602-B622-4553-AF02-018E661261D9}"/>
                      </a:ext>
                    </a:extLst>
                  </p:cNvPr>
                  <p:cNvGrpSpPr/>
                  <p:nvPr/>
                </p:nvGrpSpPr>
                <p:grpSpPr>
                  <a:xfrm>
                    <a:off x="9746672" y="2545410"/>
                    <a:ext cx="107950" cy="134938"/>
                    <a:chOff x="9444088" y="2885171"/>
                    <a:chExt cx="107950" cy="134938"/>
                  </a:xfrm>
                  <a:solidFill>
                    <a:schemeClr val="tx1"/>
                  </a:solidFill>
                </p:grpSpPr>
                <p:sp>
                  <p:nvSpPr>
                    <p:cNvPr id="26" name="Freeform 26">
                      <a:extLst>
                        <a:ext uri="{FF2B5EF4-FFF2-40B4-BE49-F238E27FC236}">
                          <a16:creationId xmlns:a16="http://schemas.microsoft.com/office/drawing/2014/main" id="{94DF68D9-14DF-4A66-8E33-2B4734A83C17}"/>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 name="Freeform 27">
                      <a:extLst>
                        <a:ext uri="{FF2B5EF4-FFF2-40B4-BE49-F238E27FC236}">
                          <a16:creationId xmlns:a16="http://schemas.microsoft.com/office/drawing/2014/main" id="{05D62B3C-4B61-49EB-A916-A5C6D6F16A16}"/>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28" name="Group 27">
                <a:extLst>
                  <a:ext uri="{FF2B5EF4-FFF2-40B4-BE49-F238E27FC236}">
                    <a16:creationId xmlns:a16="http://schemas.microsoft.com/office/drawing/2014/main" id="{BE9B3339-40E8-4026-92AF-A616EDC0B89B}"/>
                  </a:ext>
                </a:extLst>
              </p:cNvPr>
              <p:cNvGrpSpPr/>
              <p:nvPr/>
            </p:nvGrpSpPr>
            <p:grpSpPr>
              <a:xfrm>
                <a:off x="3647507" y="4026964"/>
                <a:ext cx="376337" cy="288423"/>
                <a:chOff x="7398246" y="1610486"/>
                <a:chExt cx="498447" cy="382007"/>
              </a:xfrm>
            </p:grpSpPr>
            <p:sp>
              <p:nvSpPr>
                <p:cNvPr id="29" name="monitor">
                  <a:extLst>
                    <a:ext uri="{FF2B5EF4-FFF2-40B4-BE49-F238E27FC236}">
                      <a16:creationId xmlns:a16="http://schemas.microsoft.com/office/drawing/2014/main" id="{7CBA6AB2-B777-465C-9A2F-D886D73280F5}"/>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0" name="Rectangle 29">
                  <a:extLst>
                    <a:ext uri="{FF2B5EF4-FFF2-40B4-BE49-F238E27FC236}">
                      <a16:creationId xmlns:a16="http://schemas.microsoft.com/office/drawing/2014/main" id="{87B979F3-D7D2-4FDE-8E2A-9E6C571BD34D}"/>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 name="Group 11">
                  <a:extLst>
                    <a:ext uri="{FF2B5EF4-FFF2-40B4-BE49-F238E27FC236}">
                      <a16:creationId xmlns:a16="http://schemas.microsoft.com/office/drawing/2014/main" id="{64058DA2-0B2E-4ECB-9D7C-C9CAEE174194}"/>
                    </a:ext>
                  </a:extLst>
                </p:cNvPr>
                <p:cNvGrpSpPr>
                  <a:grpSpLocks noChangeAspect="1"/>
                </p:cNvGrpSpPr>
                <p:nvPr/>
              </p:nvGrpSpPr>
              <p:grpSpPr bwMode="auto">
                <a:xfrm>
                  <a:off x="7581678" y="1714920"/>
                  <a:ext cx="111860" cy="111860"/>
                  <a:chOff x="5664" y="1835"/>
                  <a:chExt cx="73" cy="73"/>
                </a:xfrm>
                <a:solidFill>
                  <a:schemeClr val="bg1"/>
                </a:solidFill>
              </p:grpSpPr>
              <p:sp>
                <p:nvSpPr>
                  <p:cNvPr id="32" name="Freeform 12">
                    <a:extLst>
                      <a:ext uri="{FF2B5EF4-FFF2-40B4-BE49-F238E27FC236}">
                        <a16:creationId xmlns:a16="http://schemas.microsoft.com/office/drawing/2014/main" id="{C99DC447-BF4C-47C5-B44F-5C4989A3A38C}"/>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3">
                    <a:extLst>
                      <a:ext uri="{FF2B5EF4-FFF2-40B4-BE49-F238E27FC236}">
                        <a16:creationId xmlns:a16="http://schemas.microsoft.com/office/drawing/2014/main" id="{34311B24-4F40-42F6-8C7F-013CDBE39F28}"/>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 name="Freeform 14">
                    <a:extLst>
                      <a:ext uri="{FF2B5EF4-FFF2-40B4-BE49-F238E27FC236}">
                        <a16:creationId xmlns:a16="http://schemas.microsoft.com/office/drawing/2014/main" id="{49D4F9A6-CF99-4366-A4CC-FD7A863E5B47}"/>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5" name="Freeform 15">
                    <a:extLst>
                      <a:ext uri="{FF2B5EF4-FFF2-40B4-BE49-F238E27FC236}">
                        <a16:creationId xmlns:a16="http://schemas.microsoft.com/office/drawing/2014/main" id="{98F3D24A-CD1F-49B5-ABF0-E8C9FC5086F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36" name="Group 35">
                <a:extLst>
                  <a:ext uri="{FF2B5EF4-FFF2-40B4-BE49-F238E27FC236}">
                    <a16:creationId xmlns:a16="http://schemas.microsoft.com/office/drawing/2014/main" id="{7D544FA2-32DF-40B6-B912-804101F8234B}"/>
                  </a:ext>
                </a:extLst>
              </p:cNvPr>
              <p:cNvGrpSpPr/>
              <p:nvPr/>
            </p:nvGrpSpPr>
            <p:grpSpPr>
              <a:xfrm>
                <a:off x="3375318" y="4026964"/>
                <a:ext cx="160562" cy="266558"/>
                <a:chOff x="7084723" y="1610486"/>
                <a:chExt cx="212660" cy="353049"/>
              </a:xfrm>
            </p:grpSpPr>
            <p:sp>
              <p:nvSpPr>
                <p:cNvPr id="37" name="Rectangle 36">
                  <a:extLst>
                    <a:ext uri="{FF2B5EF4-FFF2-40B4-BE49-F238E27FC236}">
                      <a16:creationId xmlns:a16="http://schemas.microsoft.com/office/drawing/2014/main" id="{780EF7ED-ADCD-445C-A6A3-58060FAB8F9A}"/>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412F828F-A177-4B16-81B3-04CF9DDD667C}"/>
                    </a:ext>
                  </a:extLst>
                </p:cNvPr>
                <p:cNvGrpSpPr/>
                <p:nvPr/>
              </p:nvGrpSpPr>
              <p:grpSpPr>
                <a:xfrm>
                  <a:off x="7138556" y="1706457"/>
                  <a:ext cx="104198" cy="130248"/>
                  <a:chOff x="9444088" y="2885171"/>
                  <a:chExt cx="107950" cy="134938"/>
                </a:xfrm>
                <a:solidFill>
                  <a:schemeClr val="bg1"/>
                </a:solidFill>
              </p:grpSpPr>
              <p:sp>
                <p:nvSpPr>
                  <p:cNvPr id="41" name="Freeform 26">
                    <a:extLst>
                      <a:ext uri="{FF2B5EF4-FFF2-40B4-BE49-F238E27FC236}">
                        <a16:creationId xmlns:a16="http://schemas.microsoft.com/office/drawing/2014/main" id="{827ACD9A-6D03-4ABA-B4D7-D3799BE0F9A4}"/>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27">
                    <a:extLst>
                      <a:ext uri="{FF2B5EF4-FFF2-40B4-BE49-F238E27FC236}">
                        <a16:creationId xmlns:a16="http://schemas.microsoft.com/office/drawing/2014/main" id="{E678402B-7169-4E69-BDEA-EF3A27132CA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39" name="CellPhone_E8EA">
                  <a:extLst>
                    <a:ext uri="{FF2B5EF4-FFF2-40B4-BE49-F238E27FC236}">
                      <a16:creationId xmlns:a16="http://schemas.microsoft.com/office/drawing/2014/main" id="{C77B51ED-A286-4D4B-8235-C0C3FA7DFA3D}"/>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40" name="Straight Connector 39">
                  <a:extLst>
                    <a:ext uri="{FF2B5EF4-FFF2-40B4-BE49-F238E27FC236}">
                      <a16:creationId xmlns:a16="http://schemas.microsoft.com/office/drawing/2014/main" id="{6D34EFBA-05D1-4889-A2B5-287CC520C059}"/>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608E60E7-CA08-4CE9-BD09-100CBA00F3E5}"/>
                  </a:ext>
                </a:extLst>
              </p:cNvPr>
              <p:cNvGrpSpPr/>
              <p:nvPr/>
            </p:nvGrpSpPr>
            <p:grpSpPr>
              <a:xfrm>
                <a:off x="3109394" y="4026964"/>
                <a:ext cx="159961" cy="266558"/>
                <a:chOff x="6490922" y="1610486"/>
                <a:chExt cx="211865" cy="353049"/>
              </a:xfrm>
            </p:grpSpPr>
            <p:sp>
              <p:nvSpPr>
                <p:cNvPr id="44" name="Rectangle 43">
                  <a:extLst>
                    <a:ext uri="{FF2B5EF4-FFF2-40B4-BE49-F238E27FC236}">
                      <a16:creationId xmlns:a16="http://schemas.microsoft.com/office/drawing/2014/main" id="{76A01F70-4DFA-4CAD-95DB-C60280438046}"/>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5" name="Group 30">
                  <a:extLst>
                    <a:ext uri="{FF2B5EF4-FFF2-40B4-BE49-F238E27FC236}">
                      <a16:creationId xmlns:a16="http://schemas.microsoft.com/office/drawing/2014/main" id="{3565BAF0-7474-43BB-A4D7-349ADDAF41AB}"/>
                    </a:ext>
                  </a:extLst>
                </p:cNvPr>
                <p:cNvGrpSpPr>
                  <a:grpSpLocks noChangeAspect="1"/>
                </p:cNvGrpSpPr>
                <p:nvPr/>
              </p:nvGrpSpPr>
              <p:grpSpPr bwMode="auto">
                <a:xfrm>
                  <a:off x="6545792" y="1729376"/>
                  <a:ext cx="111361" cy="115269"/>
                  <a:chOff x="5049" y="1841"/>
                  <a:chExt cx="57" cy="59"/>
                </a:xfrm>
                <a:solidFill>
                  <a:schemeClr val="bg1"/>
                </a:solidFill>
              </p:grpSpPr>
              <p:sp>
                <p:nvSpPr>
                  <p:cNvPr id="48" name="Freeform 31">
                    <a:extLst>
                      <a:ext uri="{FF2B5EF4-FFF2-40B4-BE49-F238E27FC236}">
                        <a16:creationId xmlns:a16="http://schemas.microsoft.com/office/drawing/2014/main" id="{223BFE42-4440-4AA2-B236-C87AD1F38586}"/>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32">
                    <a:extLst>
                      <a:ext uri="{FF2B5EF4-FFF2-40B4-BE49-F238E27FC236}">
                        <a16:creationId xmlns:a16="http://schemas.microsoft.com/office/drawing/2014/main" id="{FE938934-5EF6-4ED2-A02B-0429637361C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33">
                    <a:extLst>
                      <a:ext uri="{FF2B5EF4-FFF2-40B4-BE49-F238E27FC236}">
                        <a16:creationId xmlns:a16="http://schemas.microsoft.com/office/drawing/2014/main" id="{F4B9D426-E94F-4D0F-BE30-698BB1FA546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34">
                    <a:extLst>
                      <a:ext uri="{FF2B5EF4-FFF2-40B4-BE49-F238E27FC236}">
                        <a16:creationId xmlns:a16="http://schemas.microsoft.com/office/drawing/2014/main" id="{AFEB3C00-6E34-4A24-BF1B-E3BB0C5684F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35">
                    <a:extLst>
                      <a:ext uri="{FF2B5EF4-FFF2-40B4-BE49-F238E27FC236}">
                        <a16:creationId xmlns:a16="http://schemas.microsoft.com/office/drawing/2014/main" id="{5E77B6B1-F13E-483A-84F0-F156B4335A89}"/>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36">
                    <a:extLst>
                      <a:ext uri="{FF2B5EF4-FFF2-40B4-BE49-F238E27FC236}">
                        <a16:creationId xmlns:a16="http://schemas.microsoft.com/office/drawing/2014/main" id="{96CF7CD4-986D-4A44-8F1D-50C28C069544}"/>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37">
                    <a:extLst>
                      <a:ext uri="{FF2B5EF4-FFF2-40B4-BE49-F238E27FC236}">
                        <a16:creationId xmlns:a16="http://schemas.microsoft.com/office/drawing/2014/main" id="{3FA9E87F-8DE4-4A04-932E-676E52DF947B}"/>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38">
                    <a:extLst>
                      <a:ext uri="{FF2B5EF4-FFF2-40B4-BE49-F238E27FC236}">
                        <a16:creationId xmlns:a16="http://schemas.microsoft.com/office/drawing/2014/main" id="{40B71442-034F-4C10-A936-ED836F533F17}"/>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46" name="CellPhone_E8EA">
                  <a:extLst>
                    <a:ext uri="{FF2B5EF4-FFF2-40B4-BE49-F238E27FC236}">
                      <a16:creationId xmlns:a16="http://schemas.microsoft.com/office/drawing/2014/main" id="{D7DC3F42-FD3B-4703-B402-CD2EB94883CB}"/>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47" name="Straight Connector 46">
                  <a:extLst>
                    <a:ext uri="{FF2B5EF4-FFF2-40B4-BE49-F238E27FC236}">
                      <a16:creationId xmlns:a16="http://schemas.microsoft.com/office/drawing/2014/main" id="{D177189E-3109-4D81-9399-5E0A72FB88FA}"/>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1" name="TextBox 60">
                <a:extLst>
                  <a:ext uri="{FF2B5EF4-FFF2-40B4-BE49-F238E27FC236}">
                    <a16:creationId xmlns:a16="http://schemas.microsoft.com/office/drawing/2014/main" id="{EC4E744E-A9F0-403A-8017-B708C14C1E51}"/>
                  </a:ext>
                </a:extLst>
              </p:cNvPr>
              <p:cNvSpPr txBox="1"/>
              <p:nvPr/>
            </p:nvSpPr>
            <p:spPr>
              <a:xfrm>
                <a:off x="3449644" y="3692955"/>
                <a:ext cx="732893" cy="230832"/>
              </a:xfrm>
              <a:prstGeom prst="rect">
                <a:avLst/>
              </a:prstGeom>
              <a:noFill/>
            </p:spPr>
            <p:txBody>
              <a:bodyPr wrap="none" tIns="0"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Devices</a:t>
                </a:r>
                <a:endParaRPr kumimoji="0" lang="en-US" sz="14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endParaRPr>
              </a:p>
            </p:txBody>
          </p:sp>
        </p:grpSp>
        <p:sp>
          <p:nvSpPr>
            <p:cNvPr id="247" name="Rectangle 246">
              <a:hlinkClick r:id="rId16"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481B45B8-D7C3-4251-BD57-19992B1290CB}"/>
                </a:ext>
              </a:extLst>
            </p:cNvPr>
            <p:cNvSpPr/>
            <p:nvPr/>
          </p:nvSpPr>
          <p:spPr>
            <a:xfrm>
              <a:off x="5368921" y="4397394"/>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Autopilot</a:t>
              </a:r>
            </a:p>
          </p:txBody>
        </p:sp>
        <p:sp>
          <p:nvSpPr>
            <p:cNvPr id="249" name="Rectangle 248">
              <a:hlinkClick r:id="rId17"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15C49E63-B276-4783-937D-63A8AA57D4FB}"/>
                </a:ext>
              </a:extLst>
            </p:cNvPr>
            <p:cNvSpPr/>
            <p:nvPr/>
          </p:nvSpPr>
          <p:spPr>
            <a:xfrm>
              <a:off x="5368921" y="4617051"/>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ttack Surface Reduction</a:t>
              </a:r>
            </a:p>
          </p:txBody>
        </p:sp>
        <p:sp>
          <p:nvSpPr>
            <p:cNvPr id="251" name="Rectangle 250">
              <a:hlinkClick r:id="rId18"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AFD29CFC-8852-4978-84E5-0E227A3A6EA0}"/>
                </a:ext>
              </a:extLst>
            </p:cNvPr>
            <p:cNvSpPr/>
            <p:nvPr/>
          </p:nvSpPr>
          <p:spPr>
            <a:xfrm>
              <a:off x="5375685" y="4836708"/>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en-US" sz="9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Next </a:t>
              </a:r>
              <a:r>
                <a:rPr lang="en-US" altLang="en-US" sz="90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Gen Protection</a:t>
              </a:r>
              <a:endParaRPr lang="en-US" altLang="en-US" sz="900"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sp>
          <p:nvSpPr>
            <p:cNvPr id="253" name="Rectangle 252">
              <a:hlinkClick r:id="rId1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5DE206A6-561A-414C-974E-97EBF2969DD4}"/>
                </a:ext>
              </a:extLst>
            </p:cNvPr>
            <p:cNvSpPr/>
            <p:nvPr/>
          </p:nvSpPr>
          <p:spPr>
            <a:xfrm>
              <a:off x="5368921" y="4182635"/>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lgn="ctr">
                <a:defRPr/>
              </a:pPr>
              <a:r>
                <a:rPr kumimoji="0" lang="en-US" altLang="en-US" sz="9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Win 10</a:t>
              </a:r>
            </a:p>
          </p:txBody>
        </p:sp>
        <p:sp>
          <p:nvSpPr>
            <p:cNvPr id="255" name="Rectangle 254">
              <a:hlinkClick r:id="rId1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812DF833-5DCC-464E-B7FF-CD9296377E2B}"/>
                </a:ext>
              </a:extLst>
            </p:cNvPr>
            <p:cNvSpPr/>
            <p:nvPr/>
          </p:nvSpPr>
          <p:spPr>
            <a:xfrm>
              <a:off x="6697277" y="4182101"/>
              <a:ext cx="518415"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lgn="ctr">
                <a:defRPr/>
              </a:pPr>
              <a:r>
                <a:rPr lang="en-US" altLang="en-US" sz="900" b="1" dirty="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iOS</a:t>
              </a:r>
              <a:endParaRPr kumimoji="0" lang="en-US" altLang="en-US" sz="9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57" name="Rectangle 256">
              <a:hlinkClick r:id="rId1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71AC74C8-C6A3-4B44-BFF8-86F08EAAB0CA}"/>
                </a:ext>
              </a:extLst>
            </p:cNvPr>
            <p:cNvSpPr/>
            <p:nvPr/>
          </p:nvSpPr>
          <p:spPr>
            <a:xfrm>
              <a:off x="6697821" y="4396463"/>
              <a:ext cx="518415"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lgn="ctr">
                <a:defRPr/>
              </a:pPr>
              <a:r>
                <a:rPr lang="en-US" altLang="en-US" sz="900" b="1" dirty="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Android</a:t>
              </a:r>
              <a:endParaRPr kumimoji="0" lang="en-US" altLang="en-US" sz="9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59" name="Rectangle 258">
              <a:hlinkClick r:id="rId1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8EB063E9-A499-416B-BCF2-2B74718A6811}"/>
                </a:ext>
              </a:extLst>
            </p:cNvPr>
            <p:cNvSpPr/>
            <p:nvPr/>
          </p:nvSpPr>
          <p:spPr>
            <a:xfrm>
              <a:off x="6697821" y="4620607"/>
              <a:ext cx="518415"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lgn="ctr">
                <a:defRPr/>
              </a:pPr>
              <a:r>
                <a:rPr lang="en-US" altLang="en-US" sz="900" b="1" dirty="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Mac</a:t>
              </a:r>
              <a:endParaRPr kumimoji="0" lang="en-US" altLang="en-US" sz="9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74" name="Rectangle 273">
              <a:hlinkClick r:id="rId1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14ECBED7-3524-4A40-97BC-C16A4595C1BB}"/>
                </a:ext>
              </a:extLst>
            </p:cNvPr>
            <p:cNvSpPr/>
            <p:nvPr/>
          </p:nvSpPr>
          <p:spPr>
            <a:xfrm>
              <a:off x="6694167" y="4833655"/>
              <a:ext cx="518415"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lgn="ctr">
                <a:defRPr/>
              </a:pPr>
              <a:r>
                <a:rPr lang="en-US" altLang="en-US" sz="900" b="1" dirty="0">
                  <a:gradFill>
                    <a:gsLst>
                      <a:gs pos="0">
                        <a:srgbClr val="0078D7"/>
                      </a:gs>
                      <a:gs pos="100000">
                        <a:srgbClr val="0078D7"/>
                      </a:gs>
                    </a:gsLst>
                    <a:lin ang="5400000" scaled="1"/>
                  </a:gradFill>
                  <a:latin typeface="Segoe UI" panose="020B0502040204020203" pitchFamily="34" charset="0"/>
                  <a:cs typeface="Segoe UI" panose="020B0502040204020203" pitchFamily="34" charset="0"/>
                </a:rPr>
                <a:t>Servers</a:t>
              </a:r>
              <a:endParaRPr kumimoji="0" lang="en-US" altLang="en-US" sz="9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2" name="Rectangle 151">
              <a:extLst>
                <a:ext uri="{FF2B5EF4-FFF2-40B4-BE49-F238E27FC236}">
                  <a16:creationId xmlns:a16="http://schemas.microsoft.com/office/drawing/2014/main" id="{87C11901-AA7E-4D2D-98D3-085D53DACC5B}"/>
                </a:ext>
              </a:extLst>
            </p:cNvPr>
            <p:cNvSpPr/>
            <p:nvPr/>
          </p:nvSpPr>
          <p:spPr bwMode="auto">
            <a:xfrm>
              <a:off x="5357960" y="3479105"/>
              <a:ext cx="1857732" cy="157399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lnSpc>
                  <a:spcPct val="97000"/>
                </a:lnSpc>
              </a:pPr>
              <a:endParaRPr lang="en-AU" sz="800" b="1" dirty="0" err="1">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endParaRPr>
            </a:p>
          </p:txBody>
        </p:sp>
      </p:grpSp>
      <p:grpSp>
        <p:nvGrpSpPr>
          <p:cNvPr id="2" name="Group 1">
            <a:extLst>
              <a:ext uri="{FF2B5EF4-FFF2-40B4-BE49-F238E27FC236}">
                <a16:creationId xmlns:a16="http://schemas.microsoft.com/office/drawing/2014/main" id="{85CD3829-EDA7-402C-AD67-727064911972}"/>
              </a:ext>
            </a:extLst>
          </p:cNvPr>
          <p:cNvGrpSpPr/>
          <p:nvPr/>
        </p:nvGrpSpPr>
        <p:grpSpPr>
          <a:xfrm>
            <a:off x="2375091" y="5187621"/>
            <a:ext cx="1857732" cy="702699"/>
            <a:chOff x="3316402" y="5171196"/>
            <a:chExt cx="1857732" cy="702699"/>
          </a:xfrm>
          <a:solidFill>
            <a:schemeClr val="bg1"/>
          </a:solidFill>
        </p:grpSpPr>
        <p:sp>
          <p:nvSpPr>
            <p:cNvPr id="286" name="Rectangle 285">
              <a:extLst>
                <a:ext uri="{FF2B5EF4-FFF2-40B4-BE49-F238E27FC236}">
                  <a16:creationId xmlns:a16="http://schemas.microsoft.com/office/drawing/2014/main" id="{8474CFC1-86C0-4345-9617-C5AD4DCB26E5}"/>
                </a:ext>
              </a:extLst>
            </p:cNvPr>
            <p:cNvSpPr/>
            <p:nvPr/>
          </p:nvSpPr>
          <p:spPr bwMode="auto">
            <a:xfrm>
              <a:off x="3316402" y="5171196"/>
              <a:ext cx="1857732" cy="702699"/>
            </a:xfrm>
            <a:prstGeom prst="rect">
              <a:avLst/>
            </a:prstGeom>
            <a:grp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oAutofit/>
            </a:bodyPr>
            <a:lstStyle/>
            <a:p>
              <a:pPr algn="ctr">
                <a:lnSpc>
                  <a:spcPct val="97000"/>
                </a:lnSpc>
              </a:pPr>
              <a:r>
                <a:rPr lang="en-AU" sz="1200" b="1" dirty="0">
                  <a:gradFill>
                    <a:gsLst>
                      <a:gs pos="0">
                        <a:srgbClr val="505050">
                          <a:lumMod val="75000"/>
                        </a:srgbClr>
                      </a:gs>
                      <a:gs pos="100000">
                        <a:srgbClr val="505050">
                          <a:lumMod val="75000"/>
                        </a:srgbClr>
                      </a:gs>
                    </a:gsLst>
                    <a:lin ang="5400000" scaled="1"/>
                  </a:gradFill>
                  <a:latin typeface="Segoe UI" panose="020B0502040204020203" pitchFamily="34" charset="0"/>
                  <a:cs typeface="Segoe UI" panose="020B0502040204020203" pitchFamily="34" charset="0"/>
                </a:rPr>
                <a:t>Data</a:t>
              </a:r>
            </a:p>
          </p:txBody>
        </p:sp>
        <p:sp>
          <p:nvSpPr>
            <p:cNvPr id="288" name="Rectangle 287">
              <a:hlinkClick r:id="rId1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4F89C16F-87A3-4C81-B534-E790B12A6114}"/>
                </a:ext>
              </a:extLst>
            </p:cNvPr>
            <p:cNvSpPr/>
            <p:nvPr/>
          </p:nvSpPr>
          <p:spPr>
            <a:xfrm>
              <a:off x="3396044" y="5563161"/>
              <a:ext cx="445887" cy="268302"/>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lgn="ctr">
                <a:defRPr/>
              </a:pPr>
              <a:r>
                <a:rPr kumimoji="0" lang="en-US" altLang="en-US" sz="9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On Prem </a:t>
              </a:r>
            </a:p>
          </p:txBody>
        </p:sp>
        <p:sp>
          <p:nvSpPr>
            <p:cNvPr id="290" name="Rectangle 289">
              <a:hlinkClick r:id="rId1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FA84FF72-312E-4192-A723-773F735C59D6}"/>
                </a:ext>
              </a:extLst>
            </p:cNvPr>
            <p:cNvSpPr/>
            <p:nvPr/>
          </p:nvSpPr>
          <p:spPr>
            <a:xfrm>
              <a:off x="3842475" y="5563160"/>
              <a:ext cx="618266" cy="274525"/>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lgn="ctr">
                <a:defRPr/>
              </a:pPr>
              <a:r>
                <a:rPr kumimoji="0" lang="en-US" altLang="en-US" sz="9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Endpoints &amp; Servers</a:t>
              </a:r>
            </a:p>
          </p:txBody>
        </p:sp>
        <p:sp>
          <p:nvSpPr>
            <p:cNvPr id="292" name="Rectangle 291">
              <a:hlinkClick r:id="rId1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55902A2C-4FDB-4B12-A4CD-98D04E7CA2B3}"/>
                </a:ext>
              </a:extLst>
            </p:cNvPr>
            <p:cNvSpPr/>
            <p:nvPr/>
          </p:nvSpPr>
          <p:spPr>
            <a:xfrm>
              <a:off x="4471054" y="5556939"/>
              <a:ext cx="618266" cy="274524"/>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lgn="ctr">
                <a:defRPr/>
              </a:pPr>
              <a:r>
                <a:rPr kumimoji="0" lang="en-US" altLang="en-US" sz="900" b="1" i="0" u="none" strike="noStrike" kern="1200" cap="none" spc="0" normalizeH="0" baseline="0" noProof="0" dirty="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loud Storage</a:t>
              </a:r>
            </a:p>
          </p:txBody>
        </p:sp>
      </p:grpSp>
      <p:cxnSp>
        <p:nvCxnSpPr>
          <p:cNvPr id="295" name="Connector: Elbow 294">
            <a:extLst>
              <a:ext uri="{FF2B5EF4-FFF2-40B4-BE49-F238E27FC236}">
                <a16:creationId xmlns:a16="http://schemas.microsoft.com/office/drawing/2014/main" id="{4D69A0D0-73B5-4F24-94B8-802D733C4847}"/>
              </a:ext>
            </a:extLst>
          </p:cNvPr>
          <p:cNvCxnSpPr>
            <a:stCxn id="243" idx="1"/>
            <a:endCxn id="5" idx="3"/>
          </p:cNvCxnSpPr>
          <p:nvPr/>
        </p:nvCxnSpPr>
        <p:spPr>
          <a:xfrm rot="10800000">
            <a:off x="3751689" y="3130870"/>
            <a:ext cx="660864" cy="196251"/>
          </a:xfrm>
          <a:prstGeom prst="bentConnector3">
            <a:avLst>
              <a:gd name="adj1" fmla="val 50000"/>
            </a:avLst>
          </a:prstGeom>
          <a:ln>
            <a:solidFill>
              <a:srgbClr val="EB3C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7" name="Rectangle 296">
            <a:extLst>
              <a:ext uri="{FF2B5EF4-FFF2-40B4-BE49-F238E27FC236}">
                <a16:creationId xmlns:a16="http://schemas.microsoft.com/office/drawing/2014/main" id="{89909A80-CF84-4B98-A9F5-C81910C81CC4}"/>
              </a:ext>
            </a:extLst>
          </p:cNvPr>
          <p:cNvSpPr/>
          <p:nvPr/>
        </p:nvSpPr>
        <p:spPr bwMode="auto">
          <a:xfrm>
            <a:off x="95485" y="2817825"/>
            <a:ext cx="3742213" cy="858685"/>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3600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AU" sz="1200" dirty="0">
                <a:solidFill>
                  <a:schemeClr val="tx1"/>
                </a:solidFill>
                <a:ea typeface="Segoe UI" pitchFamily="34" charset="0"/>
                <a:cs typeface="Segoe UI" pitchFamily="34" charset="0"/>
              </a:rPr>
              <a:t>Unified Identity Protection</a:t>
            </a:r>
          </a:p>
        </p:txBody>
      </p:sp>
      <p:cxnSp>
        <p:nvCxnSpPr>
          <p:cNvPr id="299" name="Straight Arrow Connector 298">
            <a:extLst>
              <a:ext uri="{FF2B5EF4-FFF2-40B4-BE49-F238E27FC236}">
                <a16:creationId xmlns:a16="http://schemas.microsoft.com/office/drawing/2014/main" id="{ED87C1AC-506A-4D7F-9624-B957A2291D1F}"/>
              </a:ext>
            </a:extLst>
          </p:cNvPr>
          <p:cNvCxnSpPr>
            <a:cxnSpLocks/>
          </p:cNvCxnSpPr>
          <p:nvPr/>
        </p:nvCxnSpPr>
        <p:spPr>
          <a:xfrm flipH="1">
            <a:off x="2394745" y="1255045"/>
            <a:ext cx="0" cy="1548000"/>
          </a:xfrm>
          <a:prstGeom prst="straightConnector1">
            <a:avLst/>
          </a:prstGeom>
          <a:ln w="571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1" name="Straight Arrow Connector 300">
            <a:extLst>
              <a:ext uri="{FF2B5EF4-FFF2-40B4-BE49-F238E27FC236}">
                <a16:creationId xmlns:a16="http://schemas.microsoft.com/office/drawing/2014/main" id="{A4500AF9-EB1E-4035-886B-31558F9EAE10}"/>
              </a:ext>
            </a:extLst>
          </p:cNvPr>
          <p:cNvCxnSpPr>
            <a:cxnSpLocks/>
          </p:cNvCxnSpPr>
          <p:nvPr/>
        </p:nvCxnSpPr>
        <p:spPr>
          <a:xfrm>
            <a:off x="1971978" y="2457689"/>
            <a:ext cx="0" cy="432000"/>
          </a:xfrm>
          <a:prstGeom prst="straightConnector1">
            <a:avLst/>
          </a:prstGeom>
          <a:ln w="57150">
            <a:solidFill>
              <a:schemeClr val="bg1">
                <a:lumMod val="6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4" name="Straight Arrow Connector 303">
            <a:extLst>
              <a:ext uri="{FF2B5EF4-FFF2-40B4-BE49-F238E27FC236}">
                <a16:creationId xmlns:a16="http://schemas.microsoft.com/office/drawing/2014/main" id="{17A6A2D7-6D83-457D-93B2-20ABF6603667}"/>
              </a:ext>
            </a:extLst>
          </p:cNvPr>
          <p:cNvCxnSpPr>
            <a:cxnSpLocks/>
          </p:cNvCxnSpPr>
          <p:nvPr/>
        </p:nvCxnSpPr>
        <p:spPr>
          <a:xfrm>
            <a:off x="4912800" y="2457689"/>
            <a:ext cx="20823" cy="432000"/>
          </a:xfrm>
          <a:prstGeom prst="straightConnector1">
            <a:avLst/>
          </a:prstGeom>
          <a:ln w="57150">
            <a:solidFill>
              <a:schemeClr val="bg1">
                <a:lumMod val="6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7" name="Straight Arrow Connector 306">
            <a:extLst>
              <a:ext uri="{FF2B5EF4-FFF2-40B4-BE49-F238E27FC236}">
                <a16:creationId xmlns:a16="http://schemas.microsoft.com/office/drawing/2014/main" id="{6CEB6340-2C10-4565-8BFD-C85494752BE9}"/>
              </a:ext>
            </a:extLst>
          </p:cNvPr>
          <p:cNvCxnSpPr>
            <a:cxnSpLocks/>
          </p:cNvCxnSpPr>
          <p:nvPr/>
        </p:nvCxnSpPr>
        <p:spPr>
          <a:xfrm>
            <a:off x="6315870" y="2470129"/>
            <a:ext cx="0" cy="432000"/>
          </a:xfrm>
          <a:prstGeom prst="straightConnector1">
            <a:avLst/>
          </a:prstGeom>
          <a:ln w="57150">
            <a:solidFill>
              <a:schemeClr val="bg1">
                <a:lumMod val="6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0" name="Straight Arrow Connector 309">
            <a:extLst>
              <a:ext uri="{FF2B5EF4-FFF2-40B4-BE49-F238E27FC236}">
                <a16:creationId xmlns:a16="http://schemas.microsoft.com/office/drawing/2014/main" id="{DF32F220-2E64-4B58-9E4B-047D4806722D}"/>
              </a:ext>
            </a:extLst>
          </p:cNvPr>
          <p:cNvCxnSpPr>
            <a:cxnSpLocks/>
          </p:cNvCxnSpPr>
          <p:nvPr/>
        </p:nvCxnSpPr>
        <p:spPr>
          <a:xfrm>
            <a:off x="8550531" y="1270151"/>
            <a:ext cx="0" cy="756000"/>
          </a:xfrm>
          <a:prstGeom prst="straightConnector1">
            <a:avLst/>
          </a:prstGeom>
          <a:ln w="571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3" name="Straight Arrow Connector 312">
            <a:extLst>
              <a:ext uri="{FF2B5EF4-FFF2-40B4-BE49-F238E27FC236}">
                <a16:creationId xmlns:a16="http://schemas.microsoft.com/office/drawing/2014/main" id="{B7A7B5B2-402A-4DA8-BA9D-4987FA56B4AD}"/>
              </a:ext>
            </a:extLst>
          </p:cNvPr>
          <p:cNvCxnSpPr>
            <a:cxnSpLocks/>
          </p:cNvCxnSpPr>
          <p:nvPr/>
        </p:nvCxnSpPr>
        <p:spPr>
          <a:xfrm>
            <a:off x="5167617" y="1270152"/>
            <a:ext cx="0" cy="1656000"/>
          </a:xfrm>
          <a:prstGeom prst="straightConnector1">
            <a:avLst/>
          </a:prstGeom>
          <a:ln w="571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6" name="Straight Arrow Connector 315">
            <a:extLst>
              <a:ext uri="{FF2B5EF4-FFF2-40B4-BE49-F238E27FC236}">
                <a16:creationId xmlns:a16="http://schemas.microsoft.com/office/drawing/2014/main" id="{231AEE0A-0656-4A1A-A858-01A270C3A71B}"/>
              </a:ext>
            </a:extLst>
          </p:cNvPr>
          <p:cNvCxnSpPr>
            <a:cxnSpLocks/>
          </p:cNvCxnSpPr>
          <p:nvPr/>
        </p:nvCxnSpPr>
        <p:spPr>
          <a:xfrm>
            <a:off x="6513733" y="1270152"/>
            <a:ext cx="0" cy="1656000"/>
          </a:xfrm>
          <a:prstGeom prst="straightConnector1">
            <a:avLst/>
          </a:prstGeom>
          <a:ln w="571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0716D359-5FD5-41BB-BA63-C991E3061632}"/>
              </a:ext>
            </a:extLst>
          </p:cNvPr>
          <p:cNvSpPr/>
          <p:nvPr/>
        </p:nvSpPr>
        <p:spPr>
          <a:xfrm>
            <a:off x="95486" y="2020015"/>
            <a:ext cx="6656526" cy="477266"/>
          </a:xfrm>
          <a:prstGeom prst="rect">
            <a:avLst/>
          </a:prstGeom>
          <a:solidFill>
            <a:schemeClr val="tx2"/>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1"/>
                </a:gradFill>
                <a:effectLst/>
                <a:uLnTx/>
                <a:uFillTx/>
                <a:ea typeface="+mn-ea"/>
                <a:cs typeface="+mn-cs"/>
              </a:rPr>
              <a:t>Microsoft Threat Protection</a:t>
            </a:r>
          </a:p>
        </p:txBody>
      </p:sp>
      <p:cxnSp>
        <p:nvCxnSpPr>
          <p:cNvPr id="318" name="Straight Arrow Connector 317">
            <a:extLst>
              <a:ext uri="{FF2B5EF4-FFF2-40B4-BE49-F238E27FC236}">
                <a16:creationId xmlns:a16="http://schemas.microsoft.com/office/drawing/2014/main" id="{5C33C9FE-95AD-4BDA-BBC1-7C59422431B9}"/>
              </a:ext>
            </a:extLst>
          </p:cNvPr>
          <p:cNvCxnSpPr>
            <a:cxnSpLocks/>
          </p:cNvCxnSpPr>
          <p:nvPr/>
        </p:nvCxnSpPr>
        <p:spPr>
          <a:xfrm>
            <a:off x="7194498" y="2457689"/>
            <a:ext cx="0" cy="432000"/>
          </a:xfrm>
          <a:prstGeom prst="straightConnector1">
            <a:avLst/>
          </a:prstGeom>
          <a:ln w="57150">
            <a:solidFill>
              <a:schemeClr val="bg1">
                <a:lumMod val="6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0" name="Straight Arrow Connector 319">
            <a:extLst>
              <a:ext uri="{FF2B5EF4-FFF2-40B4-BE49-F238E27FC236}">
                <a16:creationId xmlns:a16="http://schemas.microsoft.com/office/drawing/2014/main" id="{631A7518-AFC2-49CF-A99D-42E63891CB02}"/>
              </a:ext>
            </a:extLst>
          </p:cNvPr>
          <p:cNvCxnSpPr>
            <a:cxnSpLocks/>
          </p:cNvCxnSpPr>
          <p:nvPr/>
        </p:nvCxnSpPr>
        <p:spPr>
          <a:xfrm>
            <a:off x="9158204" y="2457689"/>
            <a:ext cx="0" cy="2700000"/>
          </a:xfrm>
          <a:prstGeom prst="straightConnector1">
            <a:avLst/>
          </a:prstGeom>
          <a:ln w="57150">
            <a:solidFill>
              <a:schemeClr val="bg1">
                <a:lumMod val="6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24" name="Arrow: Up 323">
            <a:extLst>
              <a:ext uri="{FF2B5EF4-FFF2-40B4-BE49-F238E27FC236}">
                <a16:creationId xmlns:a16="http://schemas.microsoft.com/office/drawing/2014/main" id="{FD0B9105-65B9-4825-BC7E-D7A2D5FF268C}"/>
              </a:ext>
            </a:extLst>
          </p:cNvPr>
          <p:cNvSpPr/>
          <p:nvPr/>
        </p:nvSpPr>
        <p:spPr bwMode="auto">
          <a:xfrm>
            <a:off x="3460375" y="3355868"/>
            <a:ext cx="144000" cy="1836000"/>
          </a:xfrm>
          <a:prstGeom prst="upArrow">
            <a:avLst>
              <a:gd name="adj1" fmla="val 50000"/>
              <a:gd name="adj2" fmla="val 73215"/>
            </a:avLst>
          </a:prstGeom>
          <a:no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3" name="Rectangle 292">
            <a:hlinkClick r:id="rId8" tooltip="Microsoft Intune provides mobile device management, mobile application management, and PC management capabilities from the cloud. "/>
            <a:extLst>
              <a:ext uri="{FF2B5EF4-FFF2-40B4-BE49-F238E27FC236}">
                <a16:creationId xmlns:a16="http://schemas.microsoft.com/office/drawing/2014/main" id="{A71A88C5-370B-4EB3-BB5D-EEE9A25E4F21}"/>
              </a:ext>
            </a:extLst>
          </p:cNvPr>
          <p:cNvSpPr/>
          <p:nvPr/>
        </p:nvSpPr>
        <p:spPr>
          <a:xfrm>
            <a:off x="3020497" y="3864450"/>
            <a:ext cx="1490472" cy="45063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Info Protection</a:t>
            </a:r>
          </a:p>
        </p:txBody>
      </p:sp>
      <p:sp>
        <p:nvSpPr>
          <p:cNvPr id="326" name="Arrow: Up 325">
            <a:extLst>
              <a:ext uri="{FF2B5EF4-FFF2-40B4-BE49-F238E27FC236}">
                <a16:creationId xmlns:a16="http://schemas.microsoft.com/office/drawing/2014/main" id="{0DD2E6E5-0C6E-4DB0-8E0E-6FC8EA4F478E}"/>
              </a:ext>
            </a:extLst>
          </p:cNvPr>
          <p:cNvSpPr/>
          <p:nvPr/>
        </p:nvSpPr>
        <p:spPr bwMode="auto">
          <a:xfrm>
            <a:off x="6283973" y="3562112"/>
            <a:ext cx="144000" cy="1620000"/>
          </a:xfrm>
          <a:prstGeom prst="upArrow">
            <a:avLst>
              <a:gd name="adj1" fmla="val 50000"/>
              <a:gd name="adj2" fmla="val 73215"/>
            </a:avLst>
          </a:prstGeom>
          <a:no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7" name="Arrow: Bent-Up 326">
            <a:extLst>
              <a:ext uri="{FF2B5EF4-FFF2-40B4-BE49-F238E27FC236}">
                <a16:creationId xmlns:a16="http://schemas.microsoft.com/office/drawing/2014/main" id="{82C89756-75F3-49E4-80E3-0C0339643FB1}"/>
              </a:ext>
            </a:extLst>
          </p:cNvPr>
          <p:cNvSpPr/>
          <p:nvPr/>
        </p:nvSpPr>
        <p:spPr bwMode="auto">
          <a:xfrm rot="16200000" flipH="1">
            <a:off x="6925883" y="4534837"/>
            <a:ext cx="960263" cy="684405"/>
          </a:xfrm>
          <a:prstGeom prst="bentUpArrow">
            <a:avLst>
              <a:gd name="adj1" fmla="val 12908"/>
              <a:gd name="adj2" fmla="val 13125"/>
              <a:gd name="adj3" fmla="val 17279"/>
            </a:avLst>
          </a:prstGeom>
          <a:no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cs typeface="Segoe UI" pitchFamily="34" charset="0"/>
            </a:endParaRPr>
          </a:p>
        </p:txBody>
      </p:sp>
      <p:sp>
        <p:nvSpPr>
          <p:cNvPr id="329" name="Arrow: Up 328">
            <a:extLst>
              <a:ext uri="{FF2B5EF4-FFF2-40B4-BE49-F238E27FC236}">
                <a16:creationId xmlns:a16="http://schemas.microsoft.com/office/drawing/2014/main" id="{1CFE848D-650B-4671-B0B3-6505FB3AC038}"/>
              </a:ext>
            </a:extLst>
          </p:cNvPr>
          <p:cNvSpPr/>
          <p:nvPr/>
        </p:nvSpPr>
        <p:spPr bwMode="auto">
          <a:xfrm>
            <a:off x="1059001" y="3699799"/>
            <a:ext cx="144000" cy="1476000"/>
          </a:xfrm>
          <a:prstGeom prst="upArrow">
            <a:avLst>
              <a:gd name="adj1" fmla="val 50000"/>
              <a:gd name="adj2" fmla="val 73215"/>
            </a:avLst>
          </a:prstGeom>
          <a:no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31" name="Connector: Elbow 330">
            <a:extLst>
              <a:ext uri="{FF2B5EF4-FFF2-40B4-BE49-F238E27FC236}">
                <a16:creationId xmlns:a16="http://schemas.microsoft.com/office/drawing/2014/main" id="{E302F4CA-5F4F-44F8-9A8C-696016EE794D}"/>
              </a:ext>
            </a:extLst>
          </p:cNvPr>
          <p:cNvCxnSpPr>
            <a:stCxn id="243" idx="2"/>
            <a:endCxn id="293" idx="3"/>
          </p:cNvCxnSpPr>
          <p:nvPr/>
        </p:nvCxnSpPr>
        <p:spPr>
          <a:xfrm rot="5400000">
            <a:off x="4416230" y="3572375"/>
            <a:ext cx="612132" cy="422654"/>
          </a:xfrm>
          <a:prstGeom prst="bentConnector2">
            <a:avLst/>
          </a:prstGeom>
          <a:ln>
            <a:solidFill>
              <a:srgbClr val="EB3C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32" name="Rectangle 331">
            <a:extLst>
              <a:ext uri="{FF2B5EF4-FFF2-40B4-BE49-F238E27FC236}">
                <a16:creationId xmlns:a16="http://schemas.microsoft.com/office/drawing/2014/main" id="{473F8D0D-7F5A-4CEE-BD13-00CC7B0F5539}"/>
              </a:ext>
            </a:extLst>
          </p:cNvPr>
          <p:cNvSpPr/>
          <p:nvPr/>
        </p:nvSpPr>
        <p:spPr bwMode="auto">
          <a:xfrm>
            <a:off x="5883346" y="4573284"/>
            <a:ext cx="944809" cy="285336"/>
          </a:xfrm>
          <a:prstGeom prst="rect">
            <a:avLst/>
          </a:prstGeom>
          <a:solidFill>
            <a:srgbClr val="FBDF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AU" sz="1200" dirty="0">
                <a:solidFill>
                  <a:srgbClr val="0076D3"/>
                </a:solidFill>
                <a:ea typeface="Segoe UI" pitchFamily="34" charset="0"/>
                <a:cs typeface="Segoe UI" pitchFamily="34" charset="0"/>
              </a:rPr>
              <a:t>PROTECT</a:t>
            </a:r>
          </a:p>
        </p:txBody>
      </p:sp>
      <p:sp>
        <p:nvSpPr>
          <p:cNvPr id="334" name="Rectangle 333">
            <a:extLst>
              <a:ext uri="{FF2B5EF4-FFF2-40B4-BE49-F238E27FC236}">
                <a16:creationId xmlns:a16="http://schemas.microsoft.com/office/drawing/2014/main" id="{9167A303-F006-496D-AD8B-6FC0CBCA4EEF}"/>
              </a:ext>
            </a:extLst>
          </p:cNvPr>
          <p:cNvSpPr/>
          <p:nvPr/>
        </p:nvSpPr>
        <p:spPr bwMode="auto">
          <a:xfrm>
            <a:off x="7228782" y="4555295"/>
            <a:ext cx="944809" cy="285336"/>
          </a:xfrm>
          <a:prstGeom prst="rect">
            <a:avLst/>
          </a:prstGeom>
          <a:solidFill>
            <a:srgbClr val="F9CA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AU" sz="1200" dirty="0">
                <a:solidFill>
                  <a:srgbClr val="0076D3"/>
                </a:solidFill>
                <a:ea typeface="Segoe UI" pitchFamily="34" charset="0"/>
                <a:cs typeface="Segoe UI" pitchFamily="34" charset="0"/>
              </a:rPr>
              <a:t>MANAGE</a:t>
            </a:r>
          </a:p>
        </p:txBody>
      </p:sp>
      <p:sp>
        <p:nvSpPr>
          <p:cNvPr id="336" name="Rectangle 335">
            <a:extLst>
              <a:ext uri="{FF2B5EF4-FFF2-40B4-BE49-F238E27FC236}">
                <a16:creationId xmlns:a16="http://schemas.microsoft.com/office/drawing/2014/main" id="{F9F4741E-76C1-4760-AAF3-C4E4254AADD0}"/>
              </a:ext>
            </a:extLst>
          </p:cNvPr>
          <p:cNvSpPr/>
          <p:nvPr/>
        </p:nvSpPr>
        <p:spPr>
          <a:xfrm>
            <a:off x="3699375" y="157448"/>
            <a:ext cx="4419452" cy="338554"/>
          </a:xfrm>
          <a:prstGeom prst="rect">
            <a:avLst/>
          </a:prstGeom>
          <a:noFill/>
          <a:ln>
            <a:solidFill>
              <a:schemeClr val="bg1">
                <a:lumMod val="50000"/>
              </a:scheme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latin typeface="Segoe"/>
                <a:ea typeface="+mn-ea"/>
                <a:cs typeface="+mn-cs"/>
              </a:rPr>
              <a:t>High Level Cybersecurity Architecture</a:t>
            </a:r>
          </a:p>
        </p:txBody>
      </p:sp>
      <p:grpSp>
        <p:nvGrpSpPr>
          <p:cNvPr id="19" name="Group 18">
            <a:extLst>
              <a:ext uri="{FF2B5EF4-FFF2-40B4-BE49-F238E27FC236}">
                <a16:creationId xmlns:a16="http://schemas.microsoft.com/office/drawing/2014/main" id="{306A29F4-8840-436A-A20A-AB9AF8A7D94A}"/>
              </a:ext>
            </a:extLst>
          </p:cNvPr>
          <p:cNvGrpSpPr/>
          <p:nvPr/>
        </p:nvGrpSpPr>
        <p:grpSpPr>
          <a:xfrm>
            <a:off x="9946234" y="5187194"/>
            <a:ext cx="1854000" cy="909823"/>
            <a:chOff x="10112487" y="5187194"/>
            <a:chExt cx="1854000" cy="909823"/>
          </a:xfrm>
          <a:solidFill>
            <a:schemeClr val="bg1"/>
          </a:solidFill>
        </p:grpSpPr>
        <p:sp>
          <p:nvSpPr>
            <p:cNvPr id="15" name="Rectangle 14">
              <a:extLst>
                <a:ext uri="{FF2B5EF4-FFF2-40B4-BE49-F238E27FC236}">
                  <a16:creationId xmlns:a16="http://schemas.microsoft.com/office/drawing/2014/main" id="{85D0902A-F70F-442E-B1E7-C0109A7442D2}"/>
                </a:ext>
              </a:extLst>
            </p:cNvPr>
            <p:cNvSpPr/>
            <p:nvPr/>
          </p:nvSpPr>
          <p:spPr bwMode="auto">
            <a:xfrm>
              <a:off x="10112487" y="5187194"/>
              <a:ext cx="684000" cy="451098"/>
            </a:xfrm>
            <a:prstGeom prst="rect">
              <a:avLst/>
            </a:prstGeom>
            <a:grp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AU" sz="1200" b="1" dirty="0">
                  <a:solidFill>
                    <a:schemeClr val="tx1"/>
                  </a:solidFill>
                  <a:latin typeface="Segoe UI" panose="020B0502040204020203" pitchFamily="34" charset="0"/>
                  <a:cs typeface="Segoe UI" panose="020B0502040204020203" pitchFamily="34" charset="0"/>
                </a:rPr>
                <a:t>Network</a:t>
              </a:r>
            </a:p>
          </p:txBody>
        </p:sp>
        <p:sp>
          <p:nvSpPr>
            <p:cNvPr id="16" name="Rectangle 15">
              <a:extLst>
                <a:ext uri="{FF2B5EF4-FFF2-40B4-BE49-F238E27FC236}">
                  <a16:creationId xmlns:a16="http://schemas.microsoft.com/office/drawing/2014/main" id="{C44D5D9D-375C-49F5-9B3E-5AFEE4EB97E6}"/>
                </a:ext>
              </a:extLst>
            </p:cNvPr>
            <p:cNvSpPr/>
            <p:nvPr/>
          </p:nvSpPr>
          <p:spPr bwMode="auto">
            <a:xfrm>
              <a:off x="10800823" y="5187194"/>
              <a:ext cx="612000" cy="451098"/>
            </a:xfrm>
            <a:prstGeom prst="rect">
              <a:avLst/>
            </a:prstGeom>
            <a:grp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AU" sz="1200" b="1" dirty="0">
                  <a:solidFill>
                    <a:schemeClr val="tx1"/>
                  </a:solidFill>
                  <a:latin typeface="Segoe UI" panose="020B0502040204020203" pitchFamily="34" charset="0"/>
                  <a:cs typeface="Segoe UI" panose="020B0502040204020203" pitchFamily="34" charset="0"/>
                </a:rPr>
                <a:t>Sensors</a:t>
              </a:r>
            </a:p>
          </p:txBody>
        </p:sp>
        <p:sp>
          <p:nvSpPr>
            <p:cNvPr id="17" name="Rectangle 16">
              <a:extLst>
                <a:ext uri="{FF2B5EF4-FFF2-40B4-BE49-F238E27FC236}">
                  <a16:creationId xmlns:a16="http://schemas.microsoft.com/office/drawing/2014/main" id="{9CB44815-2B1C-4213-B72F-367642CEF863}"/>
                </a:ext>
              </a:extLst>
            </p:cNvPr>
            <p:cNvSpPr/>
            <p:nvPr/>
          </p:nvSpPr>
          <p:spPr bwMode="auto">
            <a:xfrm>
              <a:off x="11424504" y="5187194"/>
              <a:ext cx="540000" cy="451098"/>
            </a:xfrm>
            <a:prstGeom prst="rect">
              <a:avLst/>
            </a:prstGeom>
            <a:grp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AU" sz="1200" b="1" dirty="0">
                  <a:solidFill>
                    <a:schemeClr val="tx1"/>
                  </a:solidFill>
                  <a:latin typeface="Segoe UI" panose="020B0502040204020203" pitchFamily="34" charset="0"/>
                  <a:cs typeface="Segoe UI" panose="020B0502040204020203" pitchFamily="34" charset="0"/>
                </a:rPr>
                <a:t>Others</a:t>
              </a:r>
            </a:p>
          </p:txBody>
        </p:sp>
        <p:sp>
          <p:nvSpPr>
            <p:cNvPr id="18" name="Rectangle 17">
              <a:extLst>
                <a:ext uri="{FF2B5EF4-FFF2-40B4-BE49-F238E27FC236}">
                  <a16:creationId xmlns:a16="http://schemas.microsoft.com/office/drawing/2014/main" id="{9DD7B513-89E0-4A66-83B0-7FD7A1F0052D}"/>
                </a:ext>
              </a:extLst>
            </p:cNvPr>
            <p:cNvSpPr/>
            <p:nvPr/>
          </p:nvSpPr>
          <p:spPr bwMode="auto">
            <a:xfrm>
              <a:off x="10112487" y="5645919"/>
              <a:ext cx="1854000" cy="451098"/>
            </a:xfrm>
            <a:prstGeom prst="rect">
              <a:avLst/>
            </a:prstGeom>
            <a:grp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r>
                <a:rPr lang="en-AU" sz="1200" dirty="0">
                  <a:solidFill>
                    <a:schemeClr val="tx1"/>
                  </a:solidFill>
                  <a:latin typeface="Segoe UI" panose="020B0502040204020203" pitchFamily="34" charset="0"/>
                  <a:cs typeface="Segoe UI" panose="020B0502040204020203" pitchFamily="34" charset="0"/>
                </a:rPr>
                <a:t>3rd Party and Microsoft </a:t>
              </a:r>
            </a:p>
            <a:p>
              <a:r>
                <a:rPr lang="en-AU" sz="1200" dirty="0">
                  <a:solidFill>
                    <a:schemeClr val="tx1"/>
                  </a:solidFill>
                  <a:latin typeface="Segoe UI" panose="020B0502040204020203" pitchFamily="34" charset="0"/>
                  <a:cs typeface="Segoe UI" panose="020B0502040204020203" pitchFamily="34" charset="0"/>
                </a:rPr>
                <a:t>Appliances</a:t>
              </a:r>
            </a:p>
          </p:txBody>
        </p:sp>
      </p:grpSp>
      <p:cxnSp>
        <p:nvCxnSpPr>
          <p:cNvPr id="120" name="Straight Arrow Connector 119">
            <a:extLst>
              <a:ext uri="{FF2B5EF4-FFF2-40B4-BE49-F238E27FC236}">
                <a16:creationId xmlns:a16="http://schemas.microsoft.com/office/drawing/2014/main" id="{B542DD26-3945-4CB9-9DAA-703C5B6E2BA1}"/>
              </a:ext>
            </a:extLst>
          </p:cNvPr>
          <p:cNvCxnSpPr>
            <a:cxnSpLocks/>
            <a:stCxn id="69" idx="3"/>
            <a:endCxn id="16" idx="0"/>
          </p:cNvCxnSpPr>
          <p:nvPr/>
        </p:nvCxnSpPr>
        <p:spPr>
          <a:xfrm>
            <a:off x="9809469" y="1044752"/>
            <a:ext cx="1131101" cy="4142442"/>
          </a:xfrm>
          <a:prstGeom prst="bentConnector2">
            <a:avLst/>
          </a:prstGeom>
          <a:ln w="57150">
            <a:solidFill>
              <a:schemeClr val="bg1">
                <a:lumMod val="6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3BA6B573-982E-4BCE-88C4-7D0B46B909DF}"/>
              </a:ext>
            </a:extLst>
          </p:cNvPr>
          <p:cNvSpPr/>
          <p:nvPr/>
        </p:nvSpPr>
        <p:spPr bwMode="auto">
          <a:xfrm>
            <a:off x="11943029" y="596716"/>
            <a:ext cx="245708" cy="2128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AU" sz="1400" b="1" dirty="0">
                <a:solidFill>
                  <a:schemeClr val="bg2">
                    <a:lumMod val="10000"/>
                  </a:schemeClr>
                </a:solidFill>
                <a:latin typeface="+mj-lt"/>
                <a:ea typeface="Segoe UI" pitchFamily="34" charset="0"/>
                <a:cs typeface="Segoe UI" pitchFamily="34" charset="0"/>
              </a:rPr>
              <a:t>MONITOR</a:t>
            </a:r>
          </a:p>
        </p:txBody>
      </p:sp>
      <p:sp>
        <p:nvSpPr>
          <p:cNvPr id="67" name="Rectangle 66">
            <a:extLst>
              <a:ext uri="{FF2B5EF4-FFF2-40B4-BE49-F238E27FC236}">
                <a16:creationId xmlns:a16="http://schemas.microsoft.com/office/drawing/2014/main" id="{E23B3CA0-38C8-4FEA-A9C4-0AF5268873B4}"/>
              </a:ext>
            </a:extLst>
          </p:cNvPr>
          <p:cNvSpPr/>
          <p:nvPr/>
        </p:nvSpPr>
        <p:spPr bwMode="auto">
          <a:xfrm>
            <a:off x="11943028" y="2741279"/>
            <a:ext cx="219202" cy="21921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AU" sz="1400" b="1" dirty="0">
                <a:solidFill>
                  <a:schemeClr val="bg2">
                    <a:lumMod val="10000"/>
                  </a:schemeClr>
                </a:solidFill>
                <a:latin typeface="+mj-lt"/>
                <a:ea typeface="Segoe UI" pitchFamily="34" charset="0"/>
                <a:cs typeface="Segoe UI" pitchFamily="34" charset="0"/>
              </a:rPr>
              <a:t>SECURE</a:t>
            </a:r>
          </a:p>
        </p:txBody>
      </p:sp>
      <p:sp>
        <p:nvSpPr>
          <p:cNvPr id="68" name="Rectangle 67">
            <a:extLst>
              <a:ext uri="{FF2B5EF4-FFF2-40B4-BE49-F238E27FC236}">
                <a16:creationId xmlns:a16="http://schemas.microsoft.com/office/drawing/2014/main" id="{47B65595-FB1B-4EB6-8244-F7D8D295D8A3}"/>
              </a:ext>
            </a:extLst>
          </p:cNvPr>
          <p:cNvSpPr/>
          <p:nvPr/>
        </p:nvSpPr>
        <p:spPr bwMode="auto">
          <a:xfrm>
            <a:off x="11943028" y="4949412"/>
            <a:ext cx="277677" cy="18892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AU" sz="1400" b="1" dirty="0">
                <a:solidFill>
                  <a:schemeClr val="bg2">
                    <a:lumMod val="10000"/>
                  </a:schemeClr>
                </a:solidFill>
                <a:latin typeface="+mj-lt"/>
                <a:ea typeface="Segoe UI" pitchFamily="34" charset="0"/>
                <a:cs typeface="Segoe UI" pitchFamily="34" charset="0"/>
              </a:rPr>
              <a:t>CONSOLIDATE</a:t>
            </a:r>
          </a:p>
        </p:txBody>
      </p:sp>
      <p:sp>
        <p:nvSpPr>
          <p:cNvPr id="69" name="Rectangle 68">
            <a:extLst>
              <a:ext uri="{FF2B5EF4-FFF2-40B4-BE49-F238E27FC236}">
                <a16:creationId xmlns:a16="http://schemas.microsoft.com/office/drawing/2014/main" id="{7577C2C8-C545-4AD8-A329-3923F41F9F79}"/>
              </a:ext>
            </a:extLst>
          </p:cNvPr>
          <p:cNvSpPr/>
          <p:nvPr/>
        </p:nvSpPr>
        <p:spPr bwMode="auto">
          <a:xfrm>
            <a:off x="1670797" y="801786"/>
            <a:ext cx="8138672" cy="485931"/>
          </a:xfrm>
          <a:prstGeom prst="rect">
            <a:avLst/>
          </a:prstGeom>
          <a:solidFill>
            <a:schemeClr val="tx2"/>
          </a:solidFill>
        </p:spPr>
        <p:txBody>
          <a:bodyPr wrap="square" anchor="ctr">
            <a:noAutofit/>
          </a:bodyPr>
          <a:lstStyle/>
          <a:p>
            <a:pPr algn="ctr"/>
            <a:r>
              <a:rPr lang="en-AU" sz="1600" b="1" dirty="0">
                <a:gradFill>
                  <a:gsLst>
                    <a:gs pos="0">
                      <a:srgbClr val="FFFFFF"/>
                    </a:gs>
                    <a:gs pos="100000">
                      <a:srgbClr val="FFFFFF"/>
                    </a:gs>
                  </a:gsLst>
                  <a:lin ang="5400000" scaled="1"/>
                </a:gradFill>
              </a:rPr>
              <a:t>Azure Sentinel</a:t>
            </a:r>
          </a:p>
        </p:txBody>
      </p:sp>
      <p:grpSp>
        <p:nvGrpSpPr>
          <p:cNvPr id="75" name="Group 74">
            <a:extLst>
              <a:ext uri="{FF2B5EF4-FFF2-40B4-BE49-F238E27FC236}">
                <a16:creationId xmlns:a16="http://schemas.microsoft.com/office/drawing/2014/main" id="{95D64D70-AA04-4E55-B310-2EA7B3FE8931}"/>
              </a:ext>
            </a:extLst>
          </p:cNvPr>
          <p:cNvGrpSpPr/>
          <p:nvPr/>
        </p:nvGrpSpPr>
        <p:grpSpPr>
          <a:xfrm>
            <a:off x="11934076" y="692120"/>
            <a:ext cx="0" cy="1944000"/>
            <a:chOff x="11246570" y="378546"/>
            <a:chExt cx="0" cy="1450254"/>
          </a:xfrm>
        </p:grpSpPr>
        <p:cxnSp>
          <p:nvCxnSpPr>
            <p:cNvPr id="73" name="Straight Arrow Connector 72">
              <a:extLst>
                <a:ext uri="{FF2B5EF4-FFF2-40B4-BE49-F238E27FC236}">
                  <a16:creationId xmlns:a16="http://schemas.microsoft.com/office/drawing/2014/main" id="{DA83FFA5-B1A0-48CE-B811-CA347266D635}"/>
                </a:ext>
              </a:extLst>
            </p:cNvPr>
            <p:cNvCxnSpPr>
              <a:cxnSpLocks/>
            </p:cNvCxnSpPr>
            <p:nvPr/>
          </p:nvCxnSpPr>
          <p:spPr>
            <a:xfrm>
              <a:off x="11246570" y="1162594"/>
              <a:ext cx="0" cy="66620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1A687139-50EE-4977-8352-46EC0E6A6F97}"/>
                </a:ext>
              </a:extLst>
            </p:cNvPr>
            <p:cNvCxnSpPr>
              <a:cxnSpLocks/>
            </p:cNvCxnSpPr>
            <p:nvPr/>
          </p:nvCxnSpPr>
          <p:spPr>
            <a:xfrm>
              <a:off x="11246570" y="378546"/>
              <a:ext cx="0" cy="66620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3" name="Group 132">
            <a:extLst>
              <a:ext uri="{FF2B5EF4-FFF2-40B4-BE49-F238E27FC236}">
                <a16:creationId xmlns:a16="http://schemas.microsoft.com/office/drawing/2014/main" id="{DEDFBB16-B15F-4CF0-9590-93656F2DAE7E}"/>
              </a:ext>
            </a:extLst>
          </p:cNvPr>
          <p:cNvGrpSpPr/>
          <p:nvPr/>
        </p:nvGrpSpPr>
        <p:grpSpPr>
          <a:xfrm>
            <a:off x="11934076" y="2835689"/>
            <a:ext cx="0" cy="1944000"/>
            <a:chOff x="11246570" y="378546"/>
            <a:chExt cx="0" cy="1450254"/>
          </a:xfrm>
        </p:grpSpPr>
        <p:cxnSp>
          <p:nvCxnSpPr>
            <p:cNvPr id="134" name="Straight Arrow Connector 133">
              <a:extLst>
                <a:ext uri="{FF2B5EF4-FFF2-40B4-BE49-F238E27FC236}">
                  <a16:creationId xmlns:a16="http://schemas.microsoft.com/office/drawing/2014/main" id="{CB40A019-722C-409F-9BB3-67DC6AD416D1}"/>
                </a:ext>
              </a:extLst>
            </p:cNvPr>
            <p:cNvCxnSpPr>
              <a:cxnSpLocks/>
            </p:cNvCxnSpPr>
            <p:nvPr/>
          </p:nvCxnSpPr>
          <p:spPr>
            <a:xfrm>
              <a:off x="11246570" y="1162594"/>
              <a:ext cx="0" cy="66620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67FD3D6A-5A70-4128-BCB8-F5220866644B}"/>
                </a:ext>
              </a:extLst>
            </p:cNvPr>
            <p:cNvCxnSpPr>
              <a:cxnSpLocks/>
            </p:cNvCxnSpPr>
            <p:nvPr/>
          </p:nvCxnSpPr>
          <p:spPr>
            <a:xfrm>
              <a:off x="11246570" y="378546"/>
              <a:ext cx="0" cy="66620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6" name="Group 135">
            <a:extLst>
              <a:ext uri="{FF2B5EF4-FFF2-40B4-BE49-F238E27FC236}">
                <a16:creationId xmlns:a16="http://schemas.microsoft.com/office/drawing/2014/main" id="{8380B11B-816B-4021-8F2F-B96902785C3D}"/>
              </a:ext>
            </a:extLst>
          </p:cNvPr>
          <p:cNvGrpSpPr/>
          <p:nvPr/>
        </p:nvGrpSpPr>
        <p:grpSpPr>
          <a:xfrm>
            <a:off x="11934076" y="4986064"/>
            <a:ext cx="0" cy="1836000"/>
            <a:chOff x="11246570" y="378546"/>
            <a:chExt cx="0" cy="1450254"/>
          </a:xfrm>
        </p:grpSpPr>
        <p:cxnSp>
          <p:nvCxnSpPr>
            <p:cNvPr id="137" name="Straight Arrow Connector 136">
              <a:extLst>
                <a:ext uri="{FF2B5EF4-FFF2-40B4-BE49-F238E27FC236}">
                  <a16:creationId xmlns:a16="http://schemas.microsoft.com/office/drawing/2014/main" id="{0BB92B83-54FA-4B4A-813D-4A160E0BC1C5}"/>
                </a:ext>
              </a:extLst>
            </p:cNvPr>
            <p:cNvCxnSpPr>
              <a:cxnSpLocks/>
            </p:cNvCxnSpPr>
            <p:nvPr/>
          </p:nvCxnSpPr>
          <p:spPr>
            <a:xfrm>
              <a:off x="11246570" y="1162594"/>
              <a:ext cx="0" cy="66620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D09F9173-B81C-4928-AEA5-CEE9E3D262DC}"/>
                </a:ext>
              </a:extLst>
            </p:cNvPr>
            <p:cNvCxnSpPr>
              <a:cxnSpLocks/>
            </p:cNvCxnSpPr>
            <p:nvPr/>
          </p:nvCxnSpPr>
          <p:spPr>
            <a:xfrm>
              <a:off x="11246570" y="378546"/>
              <a:ext cx="0" cy="66620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777519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indows 10 Template">
  <a:themeElements>
    <a:clrScheme name="Custom 19">
      <a:dk1>
        <a:srgbClr val="505050"/>
      </a:dk1>
      <a:lt1>
        <a:srgbClr val="FFFFFF"/>
      </a:lt1>
      <a:dk2>
        <a:srgbClr val="0078D7"/>
      </a:dk2>
      <a:lt2>
        <a:srgbClr val="EAEAEA"/>
      </a:lt2>
      <a:accent1>
        <a:srgbClr val="0078D7"/>
      </a:accent1>
      <a:accent2>
        <a:srgbClr val="008272"/>
      </a:accent2>
      <a:accent3>
        <a:srgbClr val="107C10"/>
      </a:accent3>
      <a:accent4>
        <a:srgbClr val="5C2D91"/>
      </a:accent4>
      <a:accent5>
        <a:srgbClr val="B4009E"/>
      </a:accent5>
      <a:accent6>
        <a:srgbClr val="D4112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BC9A56F-38DA-42B6-8681-880C03FB92A0}" vid="{C79301BF-CA34-4E39-99C7-C1F0C2B8056F}"/>
    </a:ext>
  </a:extLst>
</a:theme>
</file>

<file path=ppt/theme/theme3.xml><?xml version="1.0" encoding="utf-8"?>
<a:theme xmlns:a="http://schemas.openxmlformats.org/drawingml/2006/main" name="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4.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MCS Social_story_v1_18Feb15_DV">
  <a:themeElements>
    <a:clrScheme name="MSVID White and Mid Blue">
      <a:dk1>
        <a:srgbClr val="505050"/>
      </a:dk1>
      <a:lt1>
        <a:srgbClr val="FFFFFF"/>
      </a:lt1>
      <a:dk2>
        <a:srgbClr val="00188F"/>
      </a:dk2>
      <a:lt2>
        <a:srgbClr val="00BCF2"/>
      </a:lt2>
      <a:accent1>
        <a:srgbClr val="00188F"/>
      </a:accent1>
      <a:accent2>
        <a:srgbClr val="B4009E"/>
      </a:accent2>
      <a:accent3>
        <a:srgbClr val="0078D7"/>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
        <a:solidFill>
          <a:srgbClr val="FFFFFF"/>
        </a:solidFill>
        <a:ln>
          <a:noFill/>
        </a:ln>
      </a:spPr>
      <a:bodyPr vert="horz" wrap="square" lIns="69953" tIns="34976" rIns="69953" bIns="34976" numCol="1" anchor="t" anchorCtr="0" compatLnSpc="1">
        <a:prstTxWarp prst="textNoShape">
          <a:avLst/>
        </a:prstTxWarp>
      </a:bodyPr>
      <a:lstStyle>
        <a:defPPr marL="0" marR="0" indent="0" defTabSz="914400" eaLnBrk="1" fontAlgn="auto" latinLnBrk="0" hangingPunct="1">
          <a:lnSpc>
            <a:spcPct val="100000"/>
          </a:lnSpc>
          <a:spcBef>
            <a:spcPts val="0"/>
          </a:spcBef>
          <a:spcAft>
            <a:spcPts val="0"/>
          </a:spcAft>
          <a:buClrTx/>
          <a:buSzTx/>
          <a:buFontTx/>
          <a:buNone/>
          <a:tabLst/>
          <a:defRPr kumimoji="0" sz="1350" b="0" i="0" u="none" strike="noStrike" kern="0" cap="none" spc="0" normalizeH="0" baseline="0" noProof="0" dirty="0">
            <a:ln>
              <a:noFill/>
            </a:ln>
            <a:solidFill>
              <a:srgbClr val="000000"/>
            </a:solidFill>
            <a:effectLst/>
            <a:uLnTx/>
            <a:uFillTx/>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MID-BLUE_3.potx" id="{9F3C3879-106C-453C-A964-668F7EE593F8}" vid="{1C28A7F0-1674-405A-A8DF-20B360486B84}"/>
    </a:ext>
  </a:extLst>
</a:theme>
</file>

<file path=ppt/theme/theme6.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FD0A0AB8-9770-4A62-B2F1-B966FFF80697}"/>
    </a:ext>
  </a:extLst>
</a:theme>
</file>

<file path=ppt/theme/theme8.xml><?xml version="1.0" encoding="utf-8"?>
<a:theme xmlns:a="http://schemas.openxmlformats.org/drawingml/2006/main" name="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1" id="{C88EB8B1-A237-2148-94A5-983D7EF12F48}" vid="{254C9FB9-C42A-7A49-A362-653B3B793FE4}"/>
    </a:ext>
  </a:extLst>
</a:theme>
</file>

<file path=ppt/theme/theme9.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docProps/app.xml><?xml version="1.0" encoding="utf-8"?>
<Properties xmlns="http://schemas.openxmlformats.org/officeDocument/2006/extended-properties" xmlns:vt="http://schemas.openxmlformats.org/officeDocument/2006/docPropsVTypes">
  <TotalTime>1039</TotalTime>
  <Words>94</Words>
  <Application>Microsoft Office PowerPoint</Application>
  <PresentationFormat>Widescreen</PresentationFormat>
  <Paragraphs>42</Paragraphs>
  <Slides>1</Slides>
  <Notes>0</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1</vt:i4>
      </vt:variant>
    </vt:vector>
  </HeadingPairs>
  <TitlesOfParts>
    <vt:vector size="19" baseType="lpstr">
      <vt:lpstr>Arial</vt:lpstr>
      <vt:lpstr>Calibri</vt:lpstr>
      <vt:lpstr>Segoe</vt:lpstr>
      <vt:lpstr>Segoe UI</vt:lpstr>
      <vt:lpstr>Segoe UI Light</vt:lpstr>
      <vt:lpstr>Segoe UI Semibold</vt:lpstr>
      <vt:lpstr>Segoe UI Semilight</vt:lpstr>
      <vt:lpstr>Wingdings</vt:lpstr>
      <vt:lpstr>1_WHITE TEMPLATE</vt:lpstr>
      <vt:lpstr>3_Windows 10 Template</vt:lpstr>
      <vt:lpstr>WHITE TEMPLATE</vt:lpstr>
      <vt:lpstr>2_LIGHT COLOR TEMPLATE</vt:lpstr>
      <vt:lpstr>MCS Social_story_v1_18Feb15_DV</vt:lpstr>
      <vt:lpstr>LIGHT COLOR TEMPLATE</vt:lpstr>
      <vt:lpstr>2_WHITE TEMPLATE</vt:lpstr>
      <vt:lpstr>Theme1</vt:lpstr>
      <vt:lpstr>4_WHITE TEMPLATE</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Cybersecurity Introduction and Overview</dc:title>
  <dc:creator>Mark Simos</dc:creator>
  <cp:lastModifiedBy>Vik Verma</cp:lastModifiedBy>
  <cp:revision>10</cp:revision>
  <dcterms:modified xsi:type="dcterms:W3CDTF">2020-11-05T01:2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s@microsoft.com</vt:lpwstr>
  </property>
  <property fmtid="{D5CDD505-2E9C-101B-9397-08002B2CF9AE}" pid="5" name="MSIP_Label_f42aa342-8706-4288-bd11-ebb85995028c_SetDate">
    <vt:lpwstr>2018-04-10T20:31:30.136639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